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6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927" r:id="rId6"/>
    <p:sldId id="878" r:id="rId7"/>
    <p:sldId id="934" r:id="rId8"/>
    <p:sldId id="908" r:id="rId9"/>
    <p:sldId id="868" r:id="rId10"/>
    <p:sldId id="873" r:id="rId11"/>
    <p:sldId id="909" r:id="rId12"/>
    <p:sldId id="930" r:id="rId13"/>
    <p:sldId id="931" r:id="rId14"/>
    <p:sldId id="932" r:id="rId15"/>
    <p:sldId id="933" r:id="rId16"/>
    <p:sldId id="913" r:id="rId17"/>
    <p:sldId id="916" r:id="rId18"/>
    <p:sldId id="929" r:id="rId19"/>
    <p:sldId id="322" r:id="rId20"/>
  </p:sldIdLst>
  <p:sldSz cx="9144000" cy="6858000" type="screen4x3"/>
  <p:notesSz cx="6735763" cy="9866313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18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6905" autoAdjust="0"/>
    <p:restoredTop sz="82122" autoAdjust="0"/>
  </p:normalViewPr>
  <p:slideViewPr>
    <p:cSldViewPr snapToGrid="0" showGuides="1">
      <p:cViewPr>
        <p:scale>
          <a:sx n="90" d="100"/>
          <a:sy n="90" d="100"/>
        </p:scale>
        <p:origin x="-582" y="-72"/>
      </p:cViewPr>
      <p:guideLst>
        <p:guide orient="horz" pos="1162"/>
        <p:guide pos="672"/>
        <p:guide pos="35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7776"/>
    </p:cViewPr>
  </p:sorterViewPr>
  <p:notesViewPr>
    <p:cSldViewPr snapToGrid="0" showGuides="1">
      <p:cViewPr varScale="1">
        <p:scale>
          <a:sx n="73" d="100"/>
          <a:sy n="73" d="100"/>
        </p:scale>
        <p:origin x="-3114" y="-102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608" cy="493653"/>
          </a:xfrm>
          <a:prstGeom prst="rect">
            <a:avLst/>
          </a:prstGeom>
        </p:spPr>
        <p:txBody>
          <a:bodyPr vert="horz" lIns="91751" tIns="45875" rIns="91751" bIns="45875" rtlCol="0"/>
          <a:lstStyle>
            <a:lvl1pPr algn="l">
              <a:defRPr sz="12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603" y="0"/>
            <a:ext cx="2919607" cy="493653"/>
          </a:xfrm>
          <a:prstGeom prst="rect">
            <a:avLst/>
          </a:prstGeom>
        </p:spPr>
        <p:txBody>
          <a:bodyPr vert="horz" lIns="91751" tIns="45875" rIns="91751" bIns="45875" rtlCol="0"/>
          <a:lstStyle>
            <a:lvl1pPr algn="r">
              <a:defRPr sz="12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AAF98D5-1AD7-4F51-9387-91F66E61B4FC}" type="datetimeFigureOut">
              <a:rPr lang="en-US"/>
              <a:pPr>
                <a:defRPr/>
              </a:pPr>
              <a:t>5/12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0976"/>
            <a:ext cx="2919608" cy="493653"/>
          </a:xfrm>
          <a:prstGeom prst="rect">
            <a:avLst/>
          </a:prstGeom>
        </p:spPr>
        <p:txBody>
          <a:bodyPr vert="horz" lIns="91751" tIns="45875" rIns="91751" bIns="45875" rtlCol="0" anchor="b"/>
          <a:lstStyle>
            <a:lvl1pPr algn="l">
              <a:defRPr sz="12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603" y="9370976"/>
            <a:ext cx="2919607" cy="493653"/>
          </a:xfrm>
          <a:prstGeom prst="rect">
            <a:avLst/>
          </a:prstGeom>
        </p:spPr>
        <p:txBody>
          <a:bodyPr vert="horz" lIns="91751" tIns="45875" rIns="91751" bIns="45875" rtlCol="0" anchor="b"/>
          <a:lstStyle>
            <a:lvl1pPr algn="r">
              <a:defRPr sz="12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5E5B7072-1357-4C64-9480-E4DA0E7C60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46878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608" cy="493653"/>
          </a:xfrm>
          <a:prstGeom prst="rect">
            <a:avLst/>
          </a:prstGeom>
        </p:spPr>
        <p:txBody>
          <a:bodyPr vert="horz" lIns="92760" tIns="46380" rIns="92760" bIns="46380" rtlCol="0"/>
          <a:lstStyle>
            <a:lvl1pPr algn="l">
              <a:defRPr sz="12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603" y="0"/>
            <a:ext cx="2919607" cy="493653"/>
          </a:xfrm>
          <a:prstGeom prst="rect">
            <a:avLst/>
          </a:prstGeom>
        </p:spPr>
        <p:txBody>
          <a:bodyPr vert="horz" lIns="92760" tIns="46380" rIns="92760" bIns="46380" rtlCol="0"/>
          <a:lstStyle>
            <a:lvl1pPr algn="r">
              <a:defRPr sz="12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7610B8E4-3A32-4EB6-89AE-9B7D8B7692CE}" type="datetimeFigureOut">
              <a:rPr lang="en-US"/>
              <a:pPr>
                <a:defRPr/>
              </a:pPr>
              <a:t>5/12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8188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60" tIns="46380" rIns="92760" bIns="46380" rtlCol="0" anchor="ctr"/>
          <a:lstStyle/>
          <a:p>
            <a:pPr lvl="0"/>
            <a:endParaRPr lang="en-US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353" y="4687175"/>
            <a:ext cx="5388610" cy="4439504"/>
          </a:xfrm>
          <a:prstGeom prst="rect">
            <a:avLst/>
          </a:prstGeom>
        </p:spPr>
        <p:txBody>
          <a:bodyPr vert="horz" lIns="92760" tIns="46380" rIns="92760" bIns="4638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0976"/>
            <a:ext cx="2919608" cy="493653"/>
          </a:xfrm>
          <a:prstGeom prst="rect">
            <a:avLst/>
          </a:prstGeom>
        </p:spPr>
        <p:txBody>
          <a:bodyPr vert="horz" lIns="92760" tIns="46380" rIns="92760" bIns="46380" rtlCol="0" anchor="b"/>
          <a:lstStyle>
            <a:lvl1pPr algn="l">
              <a:defRPr sz="12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603" y="9370976"/>
            <a:ext cx="2919607" cy="493653"/>
          </a:xfrm>
          <a:prstGeom prst="rect">
            <a:avLst/>
          </a:prstGeom>
        </p:spPr>
        <p:txBody>
          <a:bodyPr vert="horz" lIns="92760" tIns="46380" rIns="92760" bIns="46380" rtlCol="0" anchor="b"/>
          <a:lstStyle>
            <a:lvl1pPr algn="r">
              <a:defRPr sz="12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DAACD1DF-6B3D-4D59-98C3-BD8489F5849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3907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ACD1DF-6B3D-4D59-98C3-BD8489F5849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rtl="0" eaLnBrk="1" fontAlgn="t" latinLnBrk="0" hangingPunct="1"/>
            <a:r>
              <a:rPr lang="en-US" b="1" dirty="0" smtClean="0"/>
              <a:t>Approved for rotavirus vaccine </a:t>
            </a:r>
            <a:r>
              <a:rPr lang="en-US" dirty="0" smtClean="0"/>
              <a:t>(year introduced)</a:t>
            </a:r>
            <a:br>
              <a:rPr lang="en-US" dirty="0" smtClean="0"/>
            </a:br>
            <a:endParaRPr lang="en-GB" b="1" dirty="0" smtClean="0"/>
          </a:p>
          <a:p>
            <a:pPr rtl="0" eaLnBrk="1" fontAlgn="ctr" latinLnBrk="0" hangingPunct="1"/>
            <a:r>
              <a:rPr lang="en-US" dirty="0" smtClean="0"/>
              <a:t>Angola (2014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Burkina Faso (2013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Burundi (2013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Cameroon (2014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Central African Republic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Congo (2014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Djibouti </a:t>
            </a:r>
          </a:p>
          <a:p>
            <a:pPr rtl="0" eaLnBrk="1" fontAlgn="ctr" latinLnBrk="0" hangingPunct="1"/>
            <a:r>
              <a:rPr lang="en-US" dirty="0" smtClean="0"/>
              <a:t>Eritrea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Ethiopia (2013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Gambia (2013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Ghana (2012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Guinea-Bissau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Kenya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Madagascar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Malawi (2012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Mali (2014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Niger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Rwanda (2012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Sierra Leone (2014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Sudan (2011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Tanzania (2012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Togo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Zambia (2013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Zimbabwe </a:t>
            </a:r>
          </a:p>
          <a:p>
            <a:pPr rtl="0" eaLnBrk="1" fontAlgn="auto" latinLnBrk="0" hangingPunct="1"/>
            <a:r>
              <a:rPr lang="en-GB" dirty="0" smtClean="0"/>
              <a:t>Liberia</a:t>
            </a:r>
          </a:p>
          <a:p>
            <a:pPr rtl="0" eaLnBrk="1" fontAlgn="auto" latinLnBrk="0" hangingPunct="1"/>
            <a:r>
              <a:rPr lang="en-GB" dirty="0" smtClean="0"/>
              <a:t>Mauritania</a:t>
            </a:r>
          </a:p>
          <a:p>
            <a:pPr rtl="0" eaLnBrk="1" fontAlgn="auto" latinLnBrk="0" hangingPunct="1"/>
            <a:r>
              <a:rPr lang="en-GB" dirty="0" smtClean="0"/>
              <a:t>Senegal</a:t>
            </a:r>
          </a:p>
          <a:p>
            <a:pPr rtl="0" eaLnBrk="1" fontAlgn="auto" latinLnBrk="0" hangingPunct="1"/>
            <a:r>
              <a:rPr lang="en-GB" dirty="0" smtClean="0"/>
              <a:t>Mozambique</a:t>
            </a: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E7ACED8-D74F-41B5-A4CD-FB26987D9E9A}" type="slidenum">
              <a:rPr lang="en-GB" sz="1200" smtClean="0"/>
              <a:pPr eaLnBrk="1" hangingPunct="1"/>
              <a:t>10</a:t>
            </a:fld>
            <a:endParaRPr lang="en-GB" sz="1200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baseline="0" dirty="0" smtClean="0">
                <a:ea typeface="ＭＳ Ｐゴシック" pitchFamily="34" charset="-128"/>
              </a:rPr>
              <a:t>7 African countries have launched HPV demonstration projects: </a:t>
            </a:r>
          </a:p>
          <a:p>
            <a:r>
              <a:rPr lang="en-GB" dirty="0" smtClean="0"/>
              <a:t>Ghana,</a:t>
            </a:r>
            <a:r>
              <a:rPr lang="en-GB" b="0" dirty="0" smtClean="0"/>
              <a:t> </a:t>
            </a:r>
            <a:r>
              <a:rPr lang="en-GB" dirty="0" smtClean="0"/>
              <a:t>Kenya,</a:t>
            </a:r>
            <a:r>
              <a:rPr lang="en-GB" b="0" dirty="0" smtClean="0"/>
              <a:t> </a:t>
            </a:r>
            <a:r>
              <a:rPr lang="en-GB" dirty="0" smtClean="0"/>
              <a:t>Madagascar,</a:t>
            </a:r>
            <a:r>
              <a:rPr lang="en-GB" b="0" dirty="0" smtClean="0"/>
              <a:t> </a:t>
            </a:r>
            <a:r>
              <a:rPr lang="en-GB" dirty="0" smtClean="0"/>
              <a:t>Malawi,</a:t>
            </a:r>
            <a:r>
              <a:rPr lang="en-GB" b="0" dirty="0" smtClean="0"/>
              <a:t> </a:t>
            </a:r>
            <a:r>
              <a:rPr lang="en-GB" dirty="0" smtClean="0"/>
              <a:t>Niger,  Sierra Leone, Tanzania</a:t>
            </a:r>
          </a:p>
          <a:p>
            <a:endParaRPr lang="en-GB" dirty="0" smtClean="0"/>
          </a:p>
          <a:p>
            <a:r>
              <a:rPr lang="en-GB" dirty="0" smtClean="0"/>
              <a:t>1 country has introduced HPV vaccine nationally with GAVI support: Rwanda</a:t>
            </a:r>
            <a:r>
              <a:rPr lang="en-GB" b="0" dirty="0" smtClean="0"/>
              <a:t> </a:t>
            </a:r>
          </a:p>
          <a:p>
            <a:endParaRPr lang="en-GB" b="0" dirty="0" smtClean="0"/>
          </a:p>
          <a:p>
            <a:endParaRPr lang="en-GB" b="0" dirty="0" smtClean="0"/>
          </a:p>
          <a:p>
            <a:r>
              <a:rPr lang="en-GB" b="1" dirty="0" smtClean="0"/>
              <a:t>Approved</a:t>
            </a:r>
            <a:r>
              <a:rPr lang="en-GB" b="1" baseline="0" dirty="0" smtClean="0"/>
              <a:t> for HPV demonstration projects:</a:t>
            </a:r>
          </a:p>
          <a:p>
            <a:r>
              <a:rPr lang="en-GB" b="0" baseline="0" dirty="0" smtClean="0"/>
              <a:t>Benin</a:t>
            </a:r>
          </a:p>
          <a:p>
            <a:r>
              <a:rPr lang="en-GB" b="0" baseline="0" dirty="0" smtClean="0"/>
              <a:t>Burundi</a:t>
            </a:r>
          </a:p>
          <a:p>
            <a:r>
              <a:rPr lang="en-GB" b="0" baseline="0" dirty="0" smtClean="0"/>
              <a:t>Cameroon</a:t>
            </a:r>
          </a:p>
          <a:p>
            <a:r>
              <a:rPr lang="en-GB" b="0" baseline="0" dirty="0" smtClean="0"/>
              <a:t>C</a:t>
            </a:r>
            <a:r>
              <a:rPr lang="en-US" dirty="0" err="1" smtClean="0"/>
              <a:t>ôt</a:t>
            </a:r>
            <a:r>
              <a:rPr lang="en-GB" b="0" baseline="0" dirty="0" smtClean="0"/>
              <a:t>e d’Ivoire</a:t>
            </a:r>
          </a:p>
          <a:p>
            <a:r>
              <a:rPr lang="en-GB" b="0" baseline="0" dirty="0" smtClean="0"/>
              <a:t>Gambia</a:t>
            </a:r>
          </a:p>
          <a:p>
            <a:r>
              <a:rPr lang="en-GB" b="0" baseline="0" dirty="0" smtClean="0"/>
              <a:t>Ghana</a:t>
            </a:r>
          </a:p>
          <a:p>
            <a:r>
              <a:rPr lang="en-GB" b="0" baseline="0" dirty="0" smtClean="0"/>
              <a:t>Kenya</a:t>
            </a:r>
          </a:p>
          <a:p>
            <a:r>
              <a:rPr lang="en-GB" b="0" baseline="0" dirty="0" smtClean="0"/>
              <a:t>Liberia</a:t>
            </a:r>
          </a:p>
          <a:p>
            <a:r>
              <a:rPr lang="en-GB" b="0" baseline="0" dirty="0" smtClean="0"/>
              <a:t>Madagascar</a:t>
            </a:r>
          </a:p>
          <a:p>
            <a:r>
              <a:rPr lang="en-GB" b="0" baseline="0" dirty="0" smtClean="0"/>
              <a:t>Malawi</a:t>
            </a:r>
          </a:p>
          <a:p>
            <a:r>
              <a:rPr lang="en-GB" b="0" baseline="0" dirty="0" smtClean="0"/>
              <a:t>Mali</a:t>
            </a:r>
          </a:p>
          <a:p>
            <a:r>
              <a:rPr lang="en-GB" b="0" baseline="0" dirty="0" smtClean="0"/>
              <a:t>Mozambique</a:t>
            </a:r>
          </a:p>
          <a:p>
            <a:r>
              <a:rPr lang="en-GB" b="0" baseline="0" dirty="0" smtClean="0"/>
              <a:t>Niger</a:t>
            </a:r>
          </a:p>
          <a:p>
            <a:r>
              <a:rPr lang="en-GB" b="0" baseline="0" dirty="0" smtClean="0"/>
              <a:t>Senegal</a:t>
            </a:r>
          </a:p>
          <a:p>
            <a:r>
              <a:rPr lang="en-GB" b="0" baseline="0" dirty="0" smtClean="0"/>
              <a:t>Sierra Leone</a:t>
            </a:r>
          </a:p>
          <a:p>
            <a:r>
              <a:rPr lang="en-GB" b="0" baseline="0" dirty="0" smtClean="0"/>
              <a:t>Tanzania</a:t>
            </a:r>
          </a:p>
          <a:p>
            <a:r>
              <a:rPr lang="en-GB" b="0" baseline="0" dirty="0" smtClean="0"/>
              <a:t>Togo</a:t>
            </a:r>
          </a:p>
          <a:p>
            <a:r>
              <a:rPr lang="en-GB" b="0" baseline="0" dirty="0" smtClean="0"/>
              <a:t>Zimbabwe</a:t>
            </a:r>
          </a:p>
          <a:p>
            <a:endParaRPr lang="en-GB" b="0" baseline="0" dirty="0" smtClean="0"/>
          </a:p>
          <a:p>
            <a:endParaRPr lang="en-GB" b="0" baseline="0" dirty="0" smtClean="0"/>
          </a:p>
          <a:p>
            <a:r>
              <a:rPr lang="en-GB" b="1" baseline="0" dirty="0" smtClean="0"/>
              <a:t>Approved for HPV national introduction:</a:t>
            </a:r>
          </a:p>
          <a:p>
            <a:r>
              <a:rPr lang="en-GB" b="0" baseline="0" dirty="0" smtClean="0"/>
              <a:t>Rwanda</a:t>
            </a:r>
          </a:p>
          <a:p>
            <a:r>
              <a:rPr lang="en-GB" b="0" baseline="0" dirty="0" smtClean="0"/>
              <a:t>Uganda</a:t>
            </a:r>
          </a:p>
          <a:p>
            <a:endParaRPr lang="en-GB" b="0" dirty="0" smtClean="0"/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E7ACED8-D74F-41B5-A4CD-FB26987D9E9A}" type="slidenum">
              <a:rPr lang="en-GB" sz="1200" smtClean="0"/>
              <a:pPr eaLnBrk="1" hangingPunct="1"/>
              <a:t>11</a:t>
            </a:fld>
            <a:endParaRPr lang="en-GB" sz="1200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b="1" baseline="0" dirty="0" smtClean="0">
                <a:ea typeface="ＭＳ Ｐゴシック" pitchFamily="34" charset="-128"/>
              </a:rPr>
              <a:t>Introduced pentavalent vaccine with GAVI support:</a:t>
            </a:r>
          </a:p>
          <a:p>
            <a:endParaRPr lang="en-GB" baseline="0" dirty="0" smtClean="0">
              <a:ea typeface="ＭＳ Ｐゴシック" pitchFamily="34" charset="-128"/>
            </a:endParaRP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gol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nin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rkina Faso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rundi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eroon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ntral African Republic</a:t>
            </a:r>
            <a:endParaRPr lang="en-GB" dirty="0" smtClean="0"/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ad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oros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go</a:t>
            </a:r>
            <a:r>
              <a:rPr lang="en-GB" dirty="0" smtClean="0"/>
              <a:t> </a:t>
            </a:r>
          </a:p>
          <a:p>
            <a:r>
              <a:rPr lang="en-US" dirty="0" smtClean="0"/>
              <a:t>Democratic Republic of the Congo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ôte d'Ivoire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jibouti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itre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hiopi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han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uine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uinea Bissau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ny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otho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beri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dagascar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lawi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li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uritani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zambique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ger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geri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wanda</a:t>
            </a:r>
            <a:r>
              <a:rPr lang="en-GB" dirty="0" smtClean="0"/>
              <a:t> </a:t>
            </a:r>
          </a:p>
          <a:p>
            <a:r>
              <a:rPr lang="en-US" dirty="0" smtClean="0"/>
              <a:t>Sao Tome and Principe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negal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erra Leone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ali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dan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ublic of</a:t>
            </a:r>
            <a:r>
              <a:rPr lang="en-GB" dirty="0" smtClean="0"/>
              <a:t>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nzani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go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gand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ambia</a:t>
            </a:r>
            <a:r>
              <a:rPr lang="en-GB" dirty="0" smtClean="0"/>
              <a:t> </a:t>
            </a:r>
          </a:p>
          <a:p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imbabwe</a:t>
            </a:r>
            <a:r>
              <a:rPr lang="en-GB" dirty="0" smtClean="0"/>
              <a:t> </a:t>
            </a:r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r>
              <a:rPr lang="en-GB" baseline="0" dirty="0" smtClean="0">
                <a:ea typeface="ＭＳ Ｐゴシック" pitchFamily="34" charset="-128"/>
              </a:rPr>
              <a:t>NB: The Gambia introduced pentavalent vaccine prior to GAVI (in 1997), but is currently receiving GAVI support for its pentavalent programme.</a:t>
            </a: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r>
              <a:rPr lang="en-GB" b="1" baseline="0" dirty="0" smtClean="0">
                <a:ea typeface="ＭＳ Ｐゴシック" pitchFamily="34" charset="-128"/>
              </a:rPr>
              <a:t>Approved:</a:t>
            </a:r>
          </a:p>
          <a:p>
            <a:endParaRPr lang="en-GB" baseline="0" dirty="0" smtClean="0">
              <a:ea typeface="ＭＳ Ｐゴシック" pitchFamily="34" charset="-128"/>
            </a:endParaRPr>
          </a:p>
          <a:p>
            <a:r>
              <a:rPr lang="en-GB" baseline="0" dirty="0" smtClean="0">
                <a:ea typeface="ＭＳ Ｐゴシック" pitchFamily="34" charset="-128"/>
              </a:rPr>
              <a:t>South Sudan</a:t>
            </a: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E7ACED8-D74F-41B5-A4CD-FB26987D9E9A}" type="slidenum">
              <a:rPr lang="en-GB" sz="1200" smtClean="0"/>
              <a:pPr eaLnBrk="1" hangingPunct="1"/>
              <a:t>12</a:t>
            </a:fld>
            <a:endParaRPr lang="en-GB" sz="1200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/>
              <a:t>Measles second dose </a:t>
            </a:r>
            <a:r>
              <a:rPr lang="en-GB" sz="1200" smtClean="0"/>
              <a:t>programmes were first </a:t>
            </a:r>
            <a:r>
              <a:rPr lang="en-GB" sz="1200" dirty="0" smtClean="0"/>
              <a:t>launched in African</a:t>
            </a:r>
            <a:r>
              <a:rPr lang="en-GB" sz="1200" baseline="0" dirty="0" smtClean="0"/>
              <a:t> countries </a:t>
            </a:r>
            <a:r>
              <a:rPr lang="en-GB" sz="1200" dirty="0" smtClean="0"/>
              <a:t>with GAVI support in 2012, and measles supplementary immunisation activities (SIA) and measles-rubella campaigns in 2013. </a:t>
            </a:r>
          </a:p>
          <a:p>
            <a:endParaRPr lang="en-GB" baseline="0" dirty="0" smtClean="0">
              <a:ea typeface="ＭＳ Ｐゴシック" pitchFamily="34" charset="-128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889" indent="-285726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2905" indent="-228581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068" indent="-228581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229" indent="-228581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392" indent="-228581" defTabSz="4571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554" indent="-228581" defTabSz="4571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8716" indent="-228581" defTabSz="4571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5878" indent="-228581" defTabSz="4571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E7ACED8-D74F-41B5-A4CD-FB26987D9E9A}" type="slidenum">
              <a:rPr lang="en-GB" sz="1200"/>
              <a:pPr eaLnBrk="1" hangingPunct="1"/>
              <a:t>13</a:t>
            </a:fld>
            <a:endParaRPr lang="en-GB" sz="1200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ACD1DF-6B3D-4D59-98C3-BD8489F5849F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E7ACED8-D74F-41B5-A4CD-FB26987D9E9A}" type="slidenum">
              <a:rPr lang="en-GB" sz="1200" smtClean="0"/>
              <a:pPr eaLnBrk="1" hangingPunct="1"/>
              <a:t>15</a:t>
            </a:fld>
            <a:endParaRPr lang="en-GB" sz="1200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889" indent="-285726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2905" indent="-228581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068" indent="-228581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229" indent="-228581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392" indent="-228581" defTabSz="4571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554" indent="-228581" defTabSz="4571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8716" indent="-228581" defTabSz="4571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5878" indent="-228581" defTabSz="4571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E7ACED8-D74F-41B5-A4CD-FB26987D9E9A}" type="slidenum">
              <a:rPr lang="en-GB" sz="1200"/>
              <a:pPr eaLnBrk="1" hangingPunct="1"/>
              <a:t>2</a:t>
            </a:fld>
            <a:endParaRPr lang="en-GB" sz="120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>
                <a:solidFill>
                  <a:schemeClr val="tx1"/>
                </a:solidFill>
                <a:cs typeface="Arial" pitchFamily="34" charset="0"/>
              </a:rPr>
              <a:t>Includes the WHO Africa region + Djibouti, Somalia, South Sudan and Sudan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ACD1DF-6B3D-4D59-98C3-BD8489F5849F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112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GAVI-supported African countries not included in the WHO Africa region are: </a:t>
            </a:r>
            <a:r>
              <a:rPr lang="en-GB" sz="1200" dirty="0" smtClean="0">
                <a:solidFill>
                  <a:schemeClr val="tx1"/>
                </a:solidFill>
                <a:cs typeface="Arial" pitchFamily="34" charset="0"/>
              </a:rPr>
              <a:t>Djibouti, Somalia, South Sudan and Sudan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ACD1DF-6B3D-4D59-98C3-BD8489F5849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1082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GB" dirty="0" smtClean="0"/>
              <a:t>Where quality data exists, vaccine</a:t>
            </a:r>
            <a:r>
              <a:rPr lang="en-GB" baseline="0" dirty="0" smtClean="0"/>
              <a:t> impact is confirmed.</a:t>
            </a:r>
            <a:endParaRPr lang="en-GB" dirty="0" smtClean="0"/>
          </a:p>
        </p:txBody>
      </p:sp>
      <p:sp>
        <p:nvSpPr>
          <p:cNvPr id="9421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FA0DEED2-6E14-4435-BF8E-1535D9982E37}" type="slidenum">
              <a:rPr lang="en-US" smtClean="0">
                <a:solidFill>
                  <a:srgbClr val="000000"/>
                </a:solidFill>
                <a:ea typeface="MS PGothic" pitchFamily="34" charset="-128"/>
              </a:rPr>
              <a:pPr>
                <a:defRPr/>
              </a:pPr>
              <a:t>5</a:t>
            </a:fld>
            <a:endParaRPr lang="en-US" smtClean="0">
              <a:solidFill>
                <a:srgbClr val="000000"/>
              </a:solidFill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1700" y="739775"/>
            <a:ext cx="4932363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Where quality data exists, vaccine</a:t>
            </a:r>
            <a:r>
              <a:rPr lang="en-GB" baseline="0" dirty="0" smtClean="0"/>
              <a:t> impact is confirmed.</a:t>
            </a:r>
            <a:endParaRPr lang="en-GB" dirty="0" smtClean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The line shows the annual number of admissions for Invasive Pneumococcal Disease of serotypes 1, 4, 5, 6B, 7F, 9V, 14, 18C, 19F, 23F among children aged &lt;5 years admitted to </a:t>
            </a:r>
            <a:r>
              <a:rPr lang="en-GB" dirty="0" err="1" smtClean="0"/>
              <a:t>Kilifi</a:t>
            </a:r>
            <a:r>
              <a:rPr lang="en-GB" dirty="0" smtClean="0"/>
              <a:t> District Hospital (KDH) who were residents of the </a:t>
            </a:r>
            <a:r>
              <a:rPr lang="en-GB" dirty="0" err="1" smtClean="0"/>
              <a:t>Kilifi</a:t>
            </a:r>
            <a:r>
              <a:rPr lang="en-GB" dirty="0" smtClean="0"/>
              <a:t> Health and Demographic</a:t>
            </a:r>
            <a:r>
              <a:rPr lang="en-GB" baseline="0" dirty="0" smtClean="0"/>
              <a:t> Surveillance System.</a:t>
            </a:r>
            <a:r>
              <a:rPr lang="en-GB" dirty="0" smtClean="0"/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Routine immunisation of children &lt;12 months began on January 11, 2011 and the first round of catch-up vaccination took place between Jan 31-Feb 6, 2011. Since the introduction of the catch-up campaign there has been a marked attenuation in the frequency of cases. However, there has been considerable variation in the number of cases year-on-year and it will take several years to be confident that changes in disease frequency are attributable to vaccine.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8CA9C7-E059-4ECE-8A28-863A5B495F63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Where quality data exists, vaccine</a:t>
            </a:r>
            <a:r>
              <a:rPr lang="en-GB" baseline="0" dirty="0" smtClean="0"/>
              <a:t> impact is confirmed.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8CA9C7-E059-4ECE-8A28-863A5B495F63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1392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Countries</a:t>
            </a:r>
            <a:r>
              <a:rPr lang="en-GB" baseline="0" dirty="0" smtClean="0"/>
              <a:t> in dark green have launched men A campaigns with GAVI support:</a:t>
            </a:r>
          </a:p>
          <a:p>
            <a:endParaRPr lang="en-GB" baseline="0" dirty="0" smtClean="0"/>
          </a:p>
          <a:p>
            <a:r>
              <a:rPr lang="en-GB" baseline="0" dirty="0" smtClean="0"/>
              <a:t>Benin</a:t>
            </a:r>
          </a:p>
          <a:p>
            <a:r>
              <a:rPr lang="en-GB" baseline="0" dirty="0" smtClean="0"/>
              <a:t>Burkina Faso</a:t>
            </a:r>
          </a:p>
          <a:p>
            <a:r>
              <a:rPr lang="en-GB" baseline="0" dirty="0" smtClean="0"/>
              <a:t>Cameroon</a:t>
            </a:r>
          </a:p>
          <a:p>
            <a:r>
              <a:rPr lang="en-GB" baseline="0" dirty="0" smtClean="0"/>
              <a:t>Chad</a:t>
            </a:r>
          </a:p>
          <a:p>
            <a:r>
              <a:rPr lang="en-GB" baseline="0" dirty="0" smtClean="0"/>
              <a:t>Ethiopia</a:t>
            </a:r>
          </a:p>
          <a:p>
            <a:r>
              <a:rPr lang="en-GB" baseline="0" dirty="0" smtClean="0"/>
              <a:t>Gambia</a:t>
            </a:r>
          </a:p>
          <a:p>
            <a:r>
              <a:rPr lang="en-GB" baseline="0" dirty="0" smtClean="0"/>
              <a:t>Ghana</a:t>
            </a:r>
          </a:p>
          <a:p>
            <a:r>
              <a:rPr lang="en-GB" baseline="0" dirty="0" smtClean="0"/>
              <a:t>Mali</a:t>
            </a:r>
          </a:p>
          <a:p>
            <a:r>
              <a:rPr lang="en-GB" baseline="0" dirty="0" smtClean="0"/>
              <a:t>Niger</a:t>
            </a:r>
          </a:p>
          <a:p>
            <a:r>
              <a:rPr lang="en-GB" baseline="0" dirty="0" smtClean="0"/>
              <a:t>Nigeria</a:t>
            </a:r>
          </a:p>
          <a:p>
            <a:r>
              <a:rPr lang="en-GB" baseline="0" dirty="0" smtClean="0"/>
              <a:t>Senegal</a:t>
            </a:r>
          </a:p>
          <a:p>
            <a:r>
              <a:rPr lang="en-GB" baseline="0" dirty="0" smtClean="0"/>
              <a:t>Sudan</a:t>
            </a:r>
          </a:p>
          <a:p>
            <a:endParaRPr lang="en-GB" baseline="0" dirty="0" smtClean="0"/>
          </a:p>
          <a:p>
            <a:endParaRPr lang="en-GB" baseline="0" dirty="0" smtClean="0"/>
          </a:p>
          <a:p>
            <a:endParaRPr lang="en-GB" baseline="0" dirty="0" smtClean="0"/>
          </a:p>
          <a:p>
            <a:endParaRPr lang="en-GB" baseline="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ACD1DF-6B3D-4D59-98C3-BD8489F5849F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rtl="0" eaLnBrk="1" fontAlgn="t" latinLnBrk="0" hangingPunct="1"/>
            <a:r>
              <a:rPr lang="en-US" b="1" dirty="0" smtClean="0"/>
              <a:t>Approved for pneumococcal vaccine </a:t>
            </a:r>
            <a:r>
              <a:rPr lang="en-US" dirty="0" smtClean="0"/>
              <a:t>(year introduced)</a:t>
            </a:r>
            <a:br>
              <a:rPr lang="en-US" dirty="0" smtClean="0"/>
            </a:b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Angola (2013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enin (2011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rkina Faso (2013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Burundi (2011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ameroon (2011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entral African Republic (2011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ongo (2012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ôte d’Ivoire</a:t>
            </a:r>
            <a:endParaRPr lang="en-GB" dirty="0" smtClean="0"/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Democratic Republic of the Congo (2011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Djibouti (2012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Eritrea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Ethiopia (2011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Ghana (2012)</a:t>
            </a:r>
            <a:endParaRPr lang="en-GB" dirty="0" smtClean="0"/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Gambia (2009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Guinea-Bissau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Kenya (2011)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esotho</a:t>
            </a:r>
          </a:p>
          <a:p>
            <a:pPr marL="0" marR="0" indent="0" algn="l" defTabSz="914400" rtl="0" eaLnBrk="1" fontAlgn="ctr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iberia (2014)</a:t>
            </a:r>
          </a:p>
          <a:p>
            <a:pPr rtl="0" eaLnBrk="1" fontAlgn="ctr" latinLnBrk="0" hangingPunct="1"/>
            <a:r>
              <a:rPr lang="en-US" dirty="0" smtClean="0"/>
              <a:t>Madagascar (2012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Malawi  (2011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Mali (2011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Mauritania (2013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Mozambique (2013)</a:t>
            </a:r>
            <a:endParaRPr lang="en-GB" dirty="0" smtClean="0"/>
          </a:p>
          <a:p>
            <a:pPr rtl="0" eaLnBrk="1" fontAlgn="t" latinLnBrk="0" hangingPunct="1"/>
            <a:r>
              <a:rPr lang="en-US" dirty="0" smtClean="0"/>
              <a:t>Niger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Nigeria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Rwanda (2009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Sao Tome and Principe (2012)</a:t>
            </a:r>
            <a:endParaRPr lang="en-GB" dirty="0" smtClean="0"/>
          </a:p>
          <a:p>
            <a:pPr rtl="0" eaLnBrk="1" fontAlgn="ctr" latinLnBrk="0" hangingPunct="1"/>
            <a:r>
              <a:rPr lang="en-US" dirty="0" smtClean="0"/>
              <a:t>Senegal (2013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Sierra Leone (2011)</a:t>
            </a:r>
            <a:endParaRPr lang="en-GB" dirty="0" smtClean="0"/>
          </a:p>
          <a:p>
            <a:pPr rtl="0" eaLnBrk="1" fontAlgn="auto" latinLnBrk="0" hangingPunct="1"/>
            <a:r>
              <a:rPr lang="en-GB" dirty="0" smtClean="0"/>
              <a:t>Sudan (2013)</a:t>
            </a:r>
          </a:p>
          <a:p>
            <a:pPr rtl="0" eaLnBrk="1" fontAlgn="auto" latinLnBrk="0" hangingPunct="1"/>
            <a:r>
              <a:rPr lang="en-US" dirty="0" smtClean="0"/>
              <a:t>Tanzania (2012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Togo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Uganda (2013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Zambia (2013)</a:t>
            </a:r>
            <a:endParaRPr lang="en-GB" dirty="0" smtClean="0"/>
          </a:p>
          <a:p>
            <a:pPr rtl="0" eaLnBrk="1" fontAlgn="auto" latinLnBrk="0" hangingPunct="1"/>
            <a:r>
              <a:rPr lang="en-US" dirty="0" smtClean="0"/>
              <a:t>Zimbabwe (2012)</a:t>
            </a:r>
            <a:endParaRPr lang="en-GB" dirty="0" smtClean="0"/>
          </a:p>
          <a:p>
            <a:pPr rtl="0" eaLnBrk="1" fontAlgn="ctr" latinLnBrk="0" hangingPunct="1"/>
            <a:endParaRPr lang="en-US" dirty="0" smtClean="0"/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  <a:p>
            <a:endParaRPr lang="en-GB" baseline="0" dirty="0" smtClean="0">
              <a:ea typeface="ＭＳ Ｐゴシック" pitchFamily="34" charset="-128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E7ACED8-D74F-41B5-A4CD-FB26987D9E9A}" type="slidenum">
              <a:rPr lang="en-GB" sz="1200" smtClean="0"/>
              <a:pPr eaLnBrk="1" hangingPunct="1"/>
              <a:t>9</a:t>
            </a:fld>
            <a:endParaRPr lang="en-GB" sz="1200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6442364" y="6184668"/>
            <a:ext cx="2701636" cy="6733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1600200"/>
            <a:ext cx="7467600" cy="2000251"/>
          </a:xfrm>
        </p:spPr>
        <p:txBody>
          <a:bodyPr/>
          <a:lstStyle>
            <a:lvl1pPr>
              <a:defRPr b="1"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0600" y="3733800"/>
            <a:ext cx="7467600" cy="914400"/>
          </a:xfrm>
        </p:spPr>
        <p:txBody>
          <a:bodyPr>
            <a:normAutofit/>
          </a:bodyPr>
          <a:lstStyle>
            <a:lvl1pPr marL="0" indent="0" algn="l">
              <a:buNone/>
              <a:defRPr sz="2400" i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7" name="Picture 14" descr="gavi_logo_RGB_larg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1600" y="4953000"/>
            <a:ext cx="3030022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B3071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274638"/>
            <a:ext cx="7391400" cy="944562"/>
          </a:xfrm>
        </p:spPr>
        <p:txBody>
          <a:bodyPr/>
          <a:lstStyle>
            <a:lvl1pPr>
              <a:defRPr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646237"/>
            <a:ext cx="7391400" cy="4525963"/>
          </a:xfrm>
        </p:spPr>
        <p:txBody>
          <a:bodyPr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 txBox="1">
            <a:spLocks noGrp="1"/>
          </p:cNvSpPr>
          <p:nvPr userDrawn="1"/>
        </p:nvSpPr>
        <p:spPr bwMode="auto">
          <a:xfrm>
            <a:off x="3429000" y="6340475"/>
            <a:ext cx="2590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000" i="1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599" y="4406900"/>
            <a:ext cx="7391401" cy="1362075"/>
          </a:xfrm>
        </p:spPr>
        <p:txBody>
          <a:bodyPr/>
          <a:lstStyle>
            <a:lvl1pPr algn="l">
              <a:defRPr sz="4000" b="1" cap="all"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599" y="2906713"/>
            <a:ext cx="73914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noProof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90600" y="1600200"/>
            <a:ext cx="3733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600200"/>
            <a:ext cx="3733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 txBox="1">
            <a:spLocks noGrp="1"/>
          </p:cNvSpPr>
          <p:nvPr userDrawn="1"/>
        </p:nvSpPr>
        <p:spPr bwMode="auto">
          <a:xfrm>
            <a:off x="3429000" y="6340475"/>
            <a:ext cx="2590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000" i="1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0599" y="1535113"/>
            <a:ext cx="36544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90600" y="2174875"/>
            <a:ext cx="365442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53000" y="1535113"/>
            <a:ext cx="37338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53000" y="2174875"/>
            <a:ext cx="37338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10"/>
          </p:nvPr>
        </p:nvSpPr>
        <p:spPr>
          <a:xfrm>
            <a:off x="990600" y="6507163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4"/>
          <p:cNvSpPr txBox="1">
            <a:spLocks noGrp="1"/>
          </p:cNvSpPr>
          <p:nvPr userDrawn="1"/>
        </p:nvSpPr>
        <p:spPr bwMode="auto">
          <a:xfrm>
            <a:off x="3429000" y="6340475"/>
            <a:ext cx="2590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000" i="1" dirty="0" smtClean="0"/>
              <a:t>Basic facts about GAVI</a:t>
            </a:r>
          </a:p>
          <a:p>
            <a:pPr algn="ctr"/>
            <a:r>
              <a:rPr lang="es-ES_tradnl" sz="1000" i="1" dirty="0" smtClean="0"/>
              <a:t>DATE</a:t>
            </a:r>
            <a:endParaRPr lang="en-US" sz="1000" i="1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 txBox="1">
            <a:spLocks noGrp="1"/>
          </p:cNvSpPr>
          <p:nvPr userDrawn="1"/>
        </p:nvSpPr>
        <p:spPr bwMode="auto">
          <a:xfrm>
            <a:off x="3429000" y="6340475"/>
            <a:ext cx="2590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000" i="1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273050"/>
            <a:ext cx="2474913" cy="1327150"/>
          </a:xfrm>
        </p:spPr>
        <p:txBody>
          <a:bodyPr anchor="b"/>
          <a:lstStyle>
            <a:lvl1pPr algn="l">
              <a:defRPr sz="2000" b="1"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33800" y="273050"/>
            <a:ext cx="4953000" cy="585311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90600" y="1752600"/>
            <a:ext cx="2474913" cy="43735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4"/>
          <p:cNvSpPr txBox="1">
            <a:spLocks noGrp="1"/>
          </p:cNvSpPr>
          <p:nvPr userDrawn="1"/>
        </p:nvSpPr>
        <p:spPr bwMode="auto">
          <a:xfrm>
            <a:off x="3429000" y="6340475"/>
            <a:ext cx="25908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endParaRPr lang="en-US" sz="1000" i="1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 baseline="0">
                <a:solidFill>
                  <a:srgbClr val="B3071B"/>
                </a:solidFill>
              </a:defRPr>
            </a:lvl1pPr>
          </a:lstStyle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990600" y="274638"/>
            <a:ext cx="7391400" cy="94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90600" y="1646238"/>
            <a:ext cx="73914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0" y="6492875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latin typeface="Arial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2055" name="Picture 6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0" y="1827213"/>
            <a:ext cx="533400" cy="1127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8" name="Picture 14" descr="gavi_logo_RGB_large.jpg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Powerpoint_stripe_line.jp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0" y="0"/>
            <a:ext cx="9162000" cy="16542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31" r:id="rId2"/>
    <p:sldLayoutId id="2147483732" r:id="rId3"/>
    <p:sldLayoutId id="2147483733" r:id="rId4"/>
    <p:sldLayoutId id="2147483741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ransition/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2"/>
          </a:solidFill>
          <a:latin typeface="Arial"/>
          <a:ea typeface="MS PGothic" pitchFamily="34" charset="-128"/>
          <a:cs typeface="ＭＳ Ｐゴシック" pitchFamily="18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MS PGothic" pitchFamily="34" charset="-128"/>
          <a:cs typeface="ＭＳ Ｐゴシック" pitchFamily="18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MS PGothic" pitchFamily="34" charset="-128"/>
          <a:cs typeface="ＭＳ Ｐゴシック" pitchFamily="18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MS PGothic" pitchFamily="34" charset="-128"/>
          <a:cs typeface="ＭＳ Ｐゴシック" pitchFamily="18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MS PGothic" pitchFamily="34" charset="-128"/>
          <a:cs typeface="ＭＳ Ｐゴシック" pitchFamily="18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18" charset="0"/>
          <a:ea typeface="ＭＳ Ｐゴシック" pitchFamily="18" charset="-128"/>
          <a:cs typeface="ＭＳ Ｐゴシック" pitchFamily="18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2600" kern="1200">
          <a:solidFill>
            <a:schemeClr val="tx1"/>
          </a:solidFill>
          <a:latin typeface="Arial"/>
          <a:ea typeface="MS PGothic" pitchFamily="34" charset="-128"/>
          <a:cs typeface="ＭＳ Ｐゴシック" pitchFamily="18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2400" kern="1200">
          <a:solidFill>
            <a:schemeClr val="tx1"/>
          </a:solidFill>
          <a:latin typeface="Arial"/>
          <a:ea typeface="MS PGothic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2200" kern="1200">
          <a:solidFill>
            <a:schemeClr val="tx1"/>
          </a:solidFill>
          <a:latin typeface="Arial"/>
          <a:ea typeface="MS PGothic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2000" kern="1200">
          <a:solidFill>
            <a:schemeClr val="tx1"/>
          </a:solidFill>
          <a:latin typeface="Arial"/>
          <a:ea typeface="MS PGothic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ts val="600"/>
        </a:spcAft>
        <a:buClr>
          <a:schemeClr val="tx2"/>
        </a:buClr>
        <a:buFont typeface="Wingdings" pitchFamily="2" charset="2"/>
        <a:buChar char="§"/>
        <a:defRPr sz="2000" kern="1200">
          <a:solidFill>
            <a:schemeClr val="tx1"/>
          </a:solidFill>
          <a:latin typeface="Arial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0.png"/><Relationship Id="rId5" Type="http://schemas.openxmlformats.org/officeDocument/2006/relationships/image" Target="../media/image9.jpe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9.jpe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9.jpeg"/><Relationship Id="rId11" Type="http://schemas.openxmlformats.org/officeDocument/2006/relationships/image" Target="../media/image3.jpeg"/><Relationship Id="rId5" Type="http://schemas.openxmlformats.org/officeDocument/2006/relationships/image" Target="../media/image33.png"/><Relationship Id="rId10" Type="http://schemas.openxmlformats.org/officeDocument/2006/relationships/image" Target="../media/image46.png"/><Relationship Id="rId4" Type="http://schemas.openxmlformats.org/officeDocument/2006/relationships/image" Target="../media/image42.png"/><Relationship Id="rId9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jpe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8.png"/><Relationship Id="rId5" Type="http://schemas.openxmlformats.org/officeDocument/2006/relationships/image" Target="../media/image9.jpe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ctrTitle"/>
          </p:nvPr>
        </p:nvSpPr>
        <p:spPr>
          <a:xfrm>
            <a:off x="990600" y="1600200"/>
            <a:ext cx="5271977" cy="2000250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rgbClr val="B3071B"/>
                </a:solidFill>
                <a:latin typeface="Arial" charset="0"/>
              </a:rPr>
              <a:t>Immunisation in Africa</a:t>
            </a:r>
            <a:br>
              <a:rPr lang="en-US" dirty="0" smtClean="0">
                <a:solidFill>
                  <a:srgbClr val="B3071B"/>
                </a:solidFill>
                <a:latin typeface="Arial" charset="0"/>
              </a:rPr>
            </a:br>
            <a:r>
              <a:rPr lang="en-US" dirty="0" smtClean="0">
                <a:solidFill>
                  <a:srgbClr val="B3071B"/>
                </a:solidFill>
                <a:latin typeface="Arial" charset="0"/>
              </a:rPr>
              <a:t/>
            </a:r>
            <a:br>
              <a:rPr lang="en-US" dirty="0" smtClean="0">
                <a:solidFill>
                  <a:srgbClr val="B3071B"/>
                </a:solidFill>
                <a:latin typeface="Arial" charset="0"/>
              </a:rPr>
            </a:br>
            <a:r>
              <a:rPr lang="en-US" sz="2400" dirty="0" smtClean="0">
                <a:solidFill>
                  <a:srgbClr val="B3071B"/>
                </a:solidFill>
                <a:latin typeface="Arial" charset="0"/>
              </a:rPr>
              <a:t>Transforming health outcomes across the continent</a:t>
            </a:r>
          </a:p>
        </p:txBody>
      </p:sp>
      <p:sp>
        <p:nvSpPr>
          <p:cNvPr id="13315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GB" sz="2000" dirty="0" smtClean="0">
                <a:latin typeface="Arial" charset="0"/>
                <a:ea typeface="ＭＳ Ｐゴシック" pitchFamily="34" charset="-128"/>
              </a:rPr>
              <a:t>Updated May 2014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Map_Africa_rotavirus_2014_05_06_b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7600" y="993600"/>
            <a:ext cx="5249264" cy="55584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803400"/>
            <a:ext cx="1371600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14" descr="gavi_logo_RGB_large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Arial" charset="0"/>
                <a:ea typeface="ＭＳ Ｐゴシック" pitchFamily="34" charset="-128"/>
              </a:rPr>
              <a:t>15 countries in Africa have introduced rotavirus vaccine with GAVI support </a:t>
            </a:r>
            <a:br>
              <a:rPr lang="en-GB" dirty="0">
                <a:latin typeface="Arial" charset="0"/>
                <a:ea typeface="ＭＳ Ｐゴシック" pitchFamily="34" charset="-128"/>
              </a:rPr>
            </a:br>
            <a:r>
              <a:rPr lang="en-GB" dirty="0">
                <a:latin typeface="Arial" charset="0"/>
                <a:ea typeface="ＭＳ Ｐゴシック" pitchFamily="34" charset="-128"/>
              </a:rPr>
              <a:t>since 2011</a:t>
            </a:r>
            <a:endParaRPr lang="en-GB" dirty="0" smtClean="0"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2" name="Image 11" descr="rotavirus_key_e.png"/>
          <p:cNvPicPr>
            <a:picLocks noChangeAspect="1"/>
          </p:cNvPicPr>
          <p:nvPr/>
        </p:nvPicPr>
        <p:blipFill>
          <a:blip r:embed="rId6"/>
          <a:srcRect b="48934"/>
          <a:stretch>
            <a:fillRect/>
          </a:stretch>
        </p:blipFill>
        <p:spPr>
          <a:xfrm>
            <a:off x="1066800" y="5236456"/>
            <a:ext cx="4374942" cy="554744"/>
          </a:xfrm>
          <a:prstGeom prst="rect">
            <a:avLst/>
          </a:prstGeom>
        </p:spPr>
      </p:pic>
      <p:sp>
        <p:nvSpPr>
          <p:cNvPr id="10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82136" y="6309956"/>
            <a:ext cx="206586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/>
          <a:p>
            <a:r>
              <a:rPr lang="en-GB" sz="800" dirty="0"/>
              <a:t>Source:</a:t>
            </a:r>
            <a:r>
              <a:rPr lang="en-GB" sz="800" dirty="0" smtClean="0"/>
              <a:t> GAVI Alliance data </a:t>
            </a:r>
            <a:br>
              <a:rPr lang="en-GB" sz="800" dirty="0" smtClean="0"/>
            </a:br>
            <a:r>
              <a:rPr lang="en-GB" sz="800" dirty="0" smtClean="0"/>
              <a:t>as of 30 April 2014</a:t>
            </a:r>
          </a:p>
        </p:txBody>
      </p:sp>
    </p:spTree>
    <p:extLst>
      <p:ext uri="{BB962C8B-B14F-4D97-AF65-F5344CB8AC3E}">
        <p14:creationId xmlns:p14="http://schemas.microsoft.com/office/powerpoint/2010/main" val="41524292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Map_Africa_HPV_2014_05_06_b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7935" y="991331"/>
            <a:ext cx="5249264" cy="55584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803400"/>
            <a:ext cx="1371600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14" descr="gavi_logo_RGB_large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990599" y="274638"/>
            <a:ext cx="7916599" cy="944562"/>
          </a:xfrm>
        </p:spPr>
        <p:txBody>
          <a:bodyPr/>
          <a:lstStyle/>
          <a:p>
            <a:r>
              <a:rPr lang="en-GB" dirty="0">
                <a:latin typeface="Arial" charset="0"/>
                <a:ea typeface="ＭＳ Ｐゴシック" pitchFamily="34" charset="-128"/>
              </a:rPr>
              <a:t>20 African countries approved for HPV vaccine support </a:t>
            </a:r>
            <a:r>
              <a:rPr lang="fr-FR" dirty="0"/>
              <a:t>–</a:t>
            </a:r>
            <a:r>
              <a:rPr lang="en-GB" dirty="0">
                <a:latin typeface="Arial" charset="0"/>
                <a:ea typeface="ＭＳ Ｐゴシック" pitchFamily="34" charset="-128"/>
              </a:rPr>
              <a:t> 8 have launched programmes </a:t>
            </a:r>
            <a:br>
              <a:rPr lang="en-GB" dirty="0">
                <a:latin typeface="Arial" charset="0"/>
                <a:ea typeface="ＭＳ Ｐゴシック" pitchFamily="34" charset="-128"/>
              </a:rPr>
            </a:br>
            <a:r>
              <a:rPr lang="en-GB" dirty="0">
                <a:latin typeface="Arial" charset="0"/>
                <a:ea typeface="ＭＳ Ｐゴシック" pitchFamily="34" charset="-128"/>
              </a:rPr>
              <a:t>since 2013</a:t>
            </a:r>
            <a:endParaRPr lang="en-GB" dirty="0" smtClean="0"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3" name="Image 12" descr="key_HPV_Africa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6800" y="3886200"/>
            <a:ext cx="2479253" cy="1893604"/>
          </a:xfrm>
          <a:prstGeom prst="rect">
            <a:avLst/>
          </a:prstGeom>
        </p:spPr>
      </p:pic>
      <p:sp>
        <p:nvSpPr>
          <p:cNvPr id="10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82136" y="6309956"/>
            <a:ext cx="206586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/>
          <a:p>
            <a:r>
              <a:rPr lang="en-GB" sz="800" dirty="0"/>
              <a:t>Source:</a:t>
            </a:r>
            <a:r>
              <a:rPr lang="en-GB" sz="800" dirty="0" smtClean="0"/>
              <a:t> GAVI Alliance data </a:t>
            </a:r>
            <a:br>
              <a:rPr lang="en-GB" sz="800" dirty="0" smtClean="0"/>
            </a:br>
            <a:r>
              <a:rPr lang="en-GB" sz="800" dirty="0" smtClean="0"/>
              <a:t>as of 30 April 2014</a:t>
            </a:r>
          </a:p>
        </p:txBody>
      </p:sp>
    </p:spTree>
    <p:extLst>
      <p:ext uri="{BB962C8B-B14F-4D97-AF65-F5344CB8AC3E}">
        <p14:creationId xmlns:p14="http://schemas.microsoft.com/office/powerpoint/2010/main" val="39637979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 descr="Map_Africa_pentavalent_2014_05_06_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934" y="993600"/>
            <a:ext cx="5249264" cy="55584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803400"/>
            <a:ext cx="1371600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14" descr="gavi_logo_RGB_large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990599" y="274638"/>
            <a:ext cx="7916599" cy="944562"/>
          </a:xfrm>
        </p:spPr>
        <p:txBody>
          <a:bodyPr/>
          <a:lstStyle/>
          <a:p>
            <a:r>
              <a:rPr lang="en-GB" dirty="0">
                <a:latin typeface="Arial" charset="0"/>
                <a:ea typeface="ＭＳ Ｐゴシック" pitchFamily="34" charset="-128"/>
              </a:rPr>
              <a:t>38 African countries have introduced pentavalent vaccine with GAVI support since 2001</a:t>
            </a:r>
            <a:endParaRPr lang="en-GB" dirty="0" smtClean="0"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0" name="Image 9" descr="asterisk_2000dpi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8000" y="3304800"/>
            <a:ext cx="166420" cy="347472"/>
          </a:xfrm>
          <a:prstGeom prst="rect">
            <a:avLst/>
          </a:prstGeom>
        </p:spPr>
      </p:pic>
      <p:pic>
        <p:nvPicPr>
          <p:cNvPr id="14" name="Image 13" descr="key_pentavalent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0400" y="5184000"/>
            <a:ext cx="3204000" cy="63388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989999" y="6062400"/>
            <a:ext cx="2965313" cy="533400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GB" sz="800" dirty="0" smtClean="0">
                <a:solidFill>
                  <a:schemeClr val="tx1"/>
                </a:solidFill>
                <a:cs typeface="Arial" pitchFamily="34" charset="0"/>
              </a:rPr>
              <a:t>* The Gambia introduced pentavalent vaccine in 1997 but is currently receiving GAVI support for its programme.</a:t>
            </a:r>
            <a:br>
              <a:rPr lang="en-GB" sz="800" dirty="0" smtClean="0">
                <a:solidFill>
                  <a:schemeClr val="tx1"/>
                </a:solidFill>
                <a:cs typeface="Arial" pitchFamily="34" charset="0"/>
              </a:rPr>
            </a:br>
            <a:endParaRPr lang="en-GB" sz="800" dirty="0" smtClean="0">
              <a:solidFill>
                <a:schemeClr val="tx1"/>
              </a:solidFill>
              <a:cs typeface="Arial" pitchFamily="34" charset="0"/>
            </a:endParaRPr>
          </a:p>
          <a:p>
            <a:r>
              <a:rPr lang="en-GB" sz="800" dirty="0" smtClean="0">
                <a:solidFill>
                  <a:schemeClr val="tx1"/>
                </a:solidFill>
                <a:cs typeface="Arial" pitchFamily="34" charset="0"/>
              </a:rPr>
              <a:t>Source: GAVI Alliance data as of 30 April 2014</a:t>
            </a:r>
            <a:endParaRPr lang="en-GB" sz="8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3743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measles_end_2013_early_2014_Africa__2014_03_1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400" y="1447200"/>
            <a:ext cx="5247038" cy="53604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803400"/>
            <a:ext cx="1371600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4" name="Grouper 13"/>
          <p:cNvGrpSpPr/>
          <p:nvPr/>
        </p:nvGrpSpPr>
        <p:grpSpPr>
          <a:xfrm>
            <a:off x="5356614" y="3505200"/>
            <a:ext cx="3500128" cy="1066800"/>
            <a:chOff x="5356614" y="3505200"/>
            <a:chExt cx="3500128" cy="1066800"/>
          </a:xfrm>
        </p:grpSpPr>
        <p:pic>
          <p:nvPicPr>
            <p:cNvPr id="17" name="Image 16" descr="measles_key_c.png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6553200" y="3505200"/>
              <a:ext cx="2303542" cy="1066800"/>
            </a:xfrm>
            <a:prstGeom prst="rect">
              <a:avLst/>
            </a:prstGeom>
          </p:spPr>
        </p:pic>
        <p:pic>
          <p:nvPicPr>
            <p:cNvPr id="13" name="Image 12" descr="measles_key_2014_03_11.png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356614" y="3505200"/>
              <a:ext cx="1196586" cy="1066800"/>
            </a:xfrm>
            <a:prstGeom prst="rect">
              <a:avLst/>
            </a:prstGeom>
          </p:spPr>
        </p:pic>
      </p:grp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990600" y="274638"/>
            <a:ext cx="7866142" cy="944562"/>
          </a:xfrm>
        </p:spPr>
        <p:txBody>
          <a:bodyPr/>
          <a:lstStyle/>
          <a:p>
            <a:r>
              <a:rPr lang="en-GB" dirty="0" smtClean="0">
                <a:latin typeface="Arial" charset="0"/>
                <a:ea typeface="ＭＳ Ｐゴシック" pitchFamily="34" charset="-128"/>
              </a:rPr>
              <a:t>GAVI-supported measles and measles-rubella programmes in 11 countries in Africa since 2012</a:t>
            </a:r>
          </a:p>
        </p:txBody>
      </p:sp>
      <p:sp>
        <p:nvSpPr>
          <p:cNvPr id="12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82135" y="6063735"/>
            <a:ext cx="23990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/>
          <a:p>
            <a:r>
              <a:rPr lang="en-GB" sz="800" dirty="0"/>
              <a:t>SIA= supplementary immunisation </a:t>
            </a:r>
            <a:r>
              <a:rPr lang="en-GB" sz="800" dirty="0" smtClean="0"/>
              <a:t>activities</a:t>
            </a:r>
            <a:br>
              <a:rPr lang="en-GB" sz="800" dirty="0" smtClean="0"/>
            </a:br>
            <a:endParaRPr lang="en-GB" sz="800" dirty="0" smtClean="0"/>
          </a:p>
          <a:p>
            <a:r>
              <a:rPr lang="en-GB" sz="800" dirty="0" smtClean="0"/>
              <a:t>Source</a:t>
            </a:r>
            <a:r>
              <a:rPr lang="en-GB" sz="800" dirty="0"/>
              <a:t>:</a:t>
            </a:r>
            <a:r>
              <a:rPr lang="en-GB" sz="800" dirty="0" smtClean="0"/>
              <a:t> GAVI Alliance data </a:t>
            </a:r>
            <a:br>
              <a:rPr lang="en-GB" sz="800" dirty="0" smtClean="0"/>
            </a:br>
            <a:r>
              <a:rPr lang="en-GB" sz="800" dirty="0" smtClean="0"/>
              <a:t>as of 30 April 2014</a:t>
            </a:r>
          </a:p>
        </p:txBody>
      </p:sp>
    </p:spTree>
    <p:extLst>
      <p:ext uri="{BB962C8B-B14F-4D97-AF65-F5344CB8AC3E}">
        <p14:creationId xmlns:p14="http://schemas.microsoft.com/office/powerpoint/2010/main" val="34782022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 descr="01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400" y="1731600"/>
            <a:ext cx="8313861" cy="4050000"/>
          </a:xfrm>
          <a:prstGeom prst="rect">
            <a:avLst/>
          </a:prstGeom>
        </p:spPr>
      </p:pic>
      <p:pic>
        <p:nvPicPr>
          <p:cNvPr id="11" name="Image 10" descr="02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51200" y="1731600"/>
            <a:ext cx="5617061" cy="4050000"/>
          </a:xfrm>
          <a:prstGeom prst="rect">
            <a:avLst/>
          </a:prstGeom>
        </p:spPr>
      </p:pic>
      <p:pic>
        <p:nvPicPr>
          <p:cNvPr id="10" name="Image 9" descr="03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56400" y="1730374"/>
            <a:ext cx="2108200" cy="4048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274638"/>
            <a:ext cx="7721600" cy="944562"/>
          </a:xfrm>
        </p:spPr>
        <p:txBody>
          <a:bodyPr/>
          <a:lstStyle/>
          <a:p>
            <a:r>
              <a:rPr lang="fr-CH" dirty="0" smtClean="0">
                <a:latin typeface="Arial" charset="0"/>
                <a:ea typeface="ＭＳ Ｐゴシック" pitchFamily="34" charset="-128"/>
              </a:rPr>
              <a:t>22.6 million children unimmunised with DTP3 </a:t>
            </a:r>
            <a:r>
              <a:rPr lang="fr-FR" dirty="0" smtClean="0"/>
              <a:t>‒</a:t>
            </a:r>
            <a:r>
              <a:rPr lang="fr-CH" dirty="0" smtClean="0">
                <a:latin typeface="Arial" charset="0"/>
                <a:ea typeface="ＭＳ Ｐゴシック" pitchFamily="34" charset="-128"/>
              </a:rPr>
              <a:t/>
            </a:r>
            <a:br>
              <a:rPr lang="fr-CH" dirty="0" smtClean="0">
                <a:latin typeface="Arial" charset="0"/>
                <a:ea typeface="ＭＳ Ｐゴシック" pitchFamily="34" charset="-128"/>
              </a:rPr>
            </a:br>
            <a:r>
              <a:rPr lang="fr-CH" dirty="0" smtClean="0">
                <a:latin typeface="Arial" charset="0"/>
                <a:ea typeface="ＭＳ Ｐゴシック" pitchFamily="34" charset="-128"/>
              </a:rPr>
              <a:t>9 million in GAVI-supported countries in Africa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1041400" y="6206066"/>
            <a:ext cx="3669930" cy="357188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US" sz="800" dirty="0">
                <a:solidFill>
                  <a:schemeClr val="tx1"/>
                </a:solidFill>
              </a:rPr>
              <a:t>Source: </a:t>
            </a:r>
            <a:r>
              <a:rPr lang="en-GB" sz="800" dirty="0" smtClean="0">
                <a:solidFill>
                  <a:schemeClr val="tx1"/>
                </a:solidFill>
              </a:rPr>
              <a:t>WHO/UNICEF coverage </a:t>
            </a:r>
            <a:r>
              <a:rPr lang="en-GB" sz="800" dirty="0">
                <a:solidFill>
                  <a:schemeClr val="tx1"/>
                </a:solidFill>
              </a:rPr>
              <a:t>estimates 2012 revision. July 2013</a:t>
            </a:r>
          </a:p>
        </p:txBody>
      </p:sp>
    </p:spTree>
    <p:extLst>
      <p:ext uri="{BB962C8B-B14F-4D97-AF65-F5344CB8AC3E}">
        <p14:creationId xmlns:p14="http://schemas.microsoft.com/office/powerpoint/2010/main" val="4103961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er 21"/>
          <p:cNvGrpSpPr/>
          <p:nvPr/>
        </p:nvGrpSpPr>
        <p:grpSpPr>
          <a:xfrm>
            <a:off x="6252430" y="152400"/>
            <a:ext cx="2891570" cy="3142344"/>
            <a:chOff x="6252430" y="152400"/>
            <a:chExt cx="2891570" cy="3142344"/>
          </a:xfrm>
        </p:grpSpPr>
        <p:grpSp>
          <p:nvGrpSpPr>
            <p:cNvPr id="19" name="Grouper 18"/>
            <p:cNvGrpSpPr/>
            <p:nvPr/>
          </p:nvGrpSpPr>
          <p:grpSpPr>
            <a:xfrm>
              <a:off x="6252430" y="152400"/>
              <a:ext cx="2891570" cy="3142344"/>
              <a:chOff x="6252430" y="152400"/>
              <a:chExt cx="2891570" cy="3142344"/>
            </a:xfrm>
          </p:grpSpPr>
          <p:pic>
            <p:nvPicPr>
              <p:cNvPr id="13" name="Image 12" descr="Map_African_countries_co-financing_2014_05_01.png"/>
              <p:cNvPicPr>
                <a:picLocks noChangeAspect="1"/>
              </p:cNvPicPr>
              <p:nvPr/>
            </p:nvPicPr>
            <p:blipFill>
              <a:blip r:embed="rId4"/>
              <a:srcRect r="2568"/>
              <a:stretch>
                <a:fillRect/>
              </a:stretch>
            </p:blipFill>
            <p:spPr>
              <a:xfrm>
                <a:off x="6252430" y="152400"/>
                <a:ext cx="2891570" cy="3142344"/>
              </a:xfrm>
              <a:prstGeom prst="rect">
                <a:avLst/>
              </a:prstGeom>
            </p:spPr>
          </p:pic>
          <p:pic>
            <p:nvPicPr>
              <p:cNvPr id="18" name="Image 17" descr="Map_Africa_pentavalent_2014_05_06_b.png"/>
              <p:cNvPicPr>
                <a:picLocks noChangeAspect="1"/>
              </p:cNvPicPr>
              <p:nvPr/>
            </p:nvPicPr>
            <p:blipFill>
              <a:blip r:embed="rId5"/>
              <a:srcRect t="453" r="2601" b="58744"/>
              <a:stretch>
                <a:fillRect/>
              </a:stretch>
            </p:blipFill>
            <p:spPr>
              <a:xfrm>
                <a:off x="6253200" y="165425"/>
                <a:ext cx="2890800" cy="1282375"/>
              </a:xfrm>
              <a:prstGeom prst="rect">
                <a:avLst/>
              </a:prstGeom>
            </p:spPr>
          </p:pic>
        </p:grpSp>
        <p:pic>
          <p:nvPicPr>
            <p:cNvPr id="20" name="Image 19" descr="Map_Africa_pentavalent_2014_05_06_b.png"/>
            <p:cNvPicPr>
              <a:picLocks noChangeAspect="1"/>
            </p:cNvPicPr>
            <p:nvPr/>
          </p:nvPicPr>
          <p:blipFill>
            <a:blip r:embed="rId5"/>
            <a:srcRect l="71725" t="453" r="2601" b="51470"/>
            <a:stretch>
              <a:fillRect/>
            </a:stretch>
          </p:blipFill>
          <p:spPr>
            <a:xfrm>
              <a:off x="8382000" y="165425"/>
              <a:ext cx="762000" cy="1510975"/>
            </a:xfrm>
            <a:prstGeom prst="rect">
              <a:avLst/>
            </a:prstGeom>
          </p:spPr>
        </p:pic>
      </p:grpSp>
      <p:pic>
        <p:nvPicPr>
          <p:cNvPr id="7" name="Picture 14" descr="gavi_logo_RGB_large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Arial" charset="0"/>
                <a:ea typeface="ＭＳ Ｐゴシック" pitchFamily="34" charset="-128"/>
              </a:rPr>
              <a:t>African countries increase </a:t>
            </a:r>
            <a:br>
              <a:rPr lang="en-GB" dirty="0" smtClean="0">
                <a:latin typeface="Arial" charset="0"/>
                <a:ea typeface="ＭＳ Ｐゴシック" pitchFamily="34" charset="-128"/>
              </a:rPr>
            </a:br>
            <a:r>
              <a:rPr lang="en-GB" dirty="0" smtClean="0">
                <a:latin typeface="Arial" charset="0"/>
                <a:ea typeface="ＭＳ Ｐゴシック" pitchFamily="34" charset="-128"/>
              </a:rPr>
              <a:t>their co-financing of new vaccines</a:t>
            </a:r>
            <a:endParaRPr lang="en-GB" i="1" dirty="0" smtClean="0"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21" name="Image 20" descr="Step_1.png"/>
          <p:cNvPicPr>
            <a:picLocks noChangeAspect="1"/>
          </p:cNvPicPr>
          <p:nvPr/>
        </p:nvPicPr>
        <p:blipFill>
          <a:blip r:embed="rId7"/>
          <a:srcRect t="11364" r="82674"/>
          <a:stretch>
            <a:fillRect/>
          </a:stretch>
        </p:blipFill>
        <p:spPr>
          <a:xfrm>
            <a:off x="1066801" y="2286000"/>
            <a:ext cx="457199" cy="3276600"/>
          </a:xfrm>
          <a:prstGeom prst="rect">
            <a:avLst/>
          </a:prstGeom>
        </p:spPr>
      </p:pic>
      <p:pic>
        <p:nvPicPr>
          <p:cNvPr id="27" name="Image 26" descr="Step_2.png"/>
          <p:cNvPicPr>
            <a:picLocks noChangeAspect="1"/>
          </p:cNvPicPr>
          <p:nvPr/>
        </p:nvPicPr>
        <p:blipFill>
          <a:blip r:embed="rId8"/>
          <a:srcRect t="11364" r="47626"/>
          <a:stretch>
            <a:fillRect/>
          </a:stretch>
        </p:blipFill>
        <p:spPr>
          <a:xfrm>
            <a:off x="4006111" y="2286000"/>
            <a:ext cx="2394689" cy="3276600"/>
          </a:xfrm>
          <a:prstGeom prst="rect">
            <a:avLst/>
          </a:prstGeom>
        </p:spPr>
      </p:pic>
      <p:pic>
        <p:nvPicPr>
          <p:cNvPr id="31" name="Image 30" descr="Step_1.png"/>
          <p:cNvPicPr>
            <a:picLocks noChangeAspect="1"/>
          </p:cNvPicPr>
          <p:nvPr/>
        </p:nvPicPr>
        <p:blipFill>
          <a:blip r:embed="rId7"/>
          <a:srcRect l="17326" t="27855" b="43287"/>
          <a:stretch>
            <a:fillRect/>
          </a:stretch>
        </p:blipFill>
        <p:spPr>
          <a:xfrm>
            <a:off x="1524000" y="3276600"/>
            <a:ext cx="2181584" cy="1066800"/>
          </a:xfrm>
          <a:prstGeom prst="rect">
            <a:avLst/>
          </a:prstGeom>
        </p:spPr>
      </p:pic>
      <p:pic>
        <p:nvPicPr>
          <p:cNvPr id="33" name="Image 32" descr="Step_2.png"/>
          <p:cNvPicPr>
            <a:picLocks noChangeAspect="1"/>
          </p:cNvPicPr>
          <p:nvPr/>
        </p:nvPicPr>
        <p:blipFill>
          <a:blip r:embed="rId8"/>
          <a:srcRect l="52374" t="25793" b="43287"/>
          <a:stretch>
            <a:fillRect/>
          </a:stretch>
        </p:blipFill>
        <p:spPr>
          <a:xfrm>
            <a:off x="6400800" y="3200400"/>
            <a:ext cx="2177616" cy="1143000"/>
          </a:xfrm>
          <a:prstGeom prst="rect">
            <a:avLst/>
          </a:prstGeom>
        </p:spPr>
      </p:pic>
      <p:pic>
        <p:nvPicPr>
          <p:cNvPr id="34" name="Image 33" descr="time_01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1688" y="5665041"/>
            <a:ext cx="1920112" cy="461741"/>
          </a:xfrm>
          <a:prstGeom prst="rect">
            <a:avLst/>
          </a:prstGeom>
        </p:spPr>
      </p:pic>
      <p:pic>
        <p:nvPicPr>
          <p:cNvPr id="35" name="Image 34" descr="time_02.pn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14421" y="5665041"/>
            <a:ext cx="3072179" cy="461741"/>
          </a:xfrm>
          <a:prstGeom prst="rect">
            <a:avLst/>
          </a:prstGeom>
        </p:spPr>
      </p:pic>
      <p:pic>
        <p:nvPicPr>
          <p:cNvPr id="36" name="Picture 9" descr="Powerpoint_stripe_line.jp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0"/>
            <a:ext cx="9162000" cy="165425"/>
          </a:xfrm>
          <a:prstGeom prst="rect">
            <a:avLst/>
          </a:prstGeom>
        </p:spPr>
      </p:pic>
      <p:sp>
        <p:nvSpPr>
          <p:cNvPr id="1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82136" y="6433066"/>
            <a:ext cx="263293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/>
          <a:p>
            <a:r>
              <a:rPr lang="en-GB" sz="800" dirty="0"/>
              <a:t>Source:</a:t>
            </a:r>
            <a:r>
              <a:rPr lang="en-GB" sz="800" dirty="0" smtClean="0"/>
              <a:t> GAVI Alliance data as of April 2014</a:t>
            </a:r>
          </a:p>
        </p:txBody>
      </p:sp>
    </p:spTree>
    <p:extLst>
      <p:ext uri="{BB962C8B-B14F-4D97-AF65-F5344CB8AC3E}">
        <p14:creationId xmlns:p14="http://schemas.microsoft.com/office/powerpoint/2010/main" val="3291315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116638"/>
            <a:ext cx="9144000" cy="7413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FFFFF"/>
              </a:solidFill>
              <a:ea typeface="ＭＳ Ｐゴシック" pitchFamily="-112" charset="-128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763000" y="244475"/>
            <a:ext cx="381000" cy="3651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srgbClr val="FFFFFF"/>
              </a:solidFill>
              <a:ea typeface="ＭＳ Ｐゴシック" pitchFamily="-112" charset="-128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905000" y="2286000"/>
            <a:ext cx="5486400" cy="3482865"/>
            <a:chOff x="1905000" y="2286000"/>
            <a:chExt cx="5486400" cy="3482865"/>
          </a:xfrm>
        </p:grpSpPr>
        <p:pic>
          <p:nvPicPr>
            <p:cNvPr id="10" name="Picture 3" descr="gavialliance_url.jp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600" y="5410200"/>
              <a:ext cx="2590800" cy="358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14" descr="gavi_logo_RGB_large.jp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5000" y="2286000"/>
              <a:ext cx="5486400" cy="2368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Africa_00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9600" y="762005"/>
            <a:ext cx="5905075" cy="5886000"/>
          </a:xfrm>
          <a:prstGeom prst="rect">
            <a:avLst/>
          </a:prstGeom>
        </p:spPr>
      </p:pic>
      <p:pic>
        <p:nvPicPr>
          <p:cNvPr id="11" name="Image 10" descr="key_x11_2014_05_06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0600" y="1828799"/>
            <a:ext cx="1836973" cy="4962490"/>
          </a:xfrm>
          <a:prstGeom prst="rect">
            <a:avLst/>
          </a:prstGeom>
        </p:spPr>
      </p:pic>
      <p:pic>
        <p:nvPicPr>
          <p:cNvPr id="13" name="Image 12" descr="countries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9600" y="762005"/>
            <a:ext cx="5905256" cy="5886000"/>
          </a:xfrm>
          <a:prstGeom prst="rect">
            <a:avLst/>
          </a:prstGeom>
        </p:spPr>
      </p:pic>
      <p:pic>
        <p:nvPicPr>
          <p:cNvPr id="10" name="Image 9" descr="countries.pn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09600" y="762005"/>
            <a:ext cx="5905256" cy="5886000"/>
          </a:xfrm>
          <a:prstGeom prst="rect">
            <a:avLst/>
          </a:prstGeom>
        </p:spPr>
      </p:pic>
      <p:pic>
        <p:nvPicPr>
          <p:cNvPr id="14" name="Picture 14" descr="gavi_logo_RGB_large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Arial" charset="0"/>
                <a:ea typeface="ＭＳ Ｐゴシック" pitchFamily="34" charset="-128"/>
              </a:rPr>
              <a:t>More than 140 GAVI-supported introductions and campaigns in Africa since </a:t>
            </a:r>
            <a:r>
              <a:rPr lang="en-GB" dirty="0" smtClean="0">
                <a:latin typeface="Arial" charset="0"/>
                <a:ea typeface="ＭＳ Ｐゴシック" pitchFamily="34" charset="-128"/>
              </a:rPr>
              <a:t>2001</a:t>
            </a:r>
          </a:p>
        </p:txBody>
      </p:sp>
      <p:sp>
        <p:nvSpPr>
          <p:cNvPr id="9" name="Rectangle 8"/>
          <p:cNvSpPr/>
          <p:nvPr/>
        </p:nvSpPr>
        <p:spPr>
          <a:xfrm>
            <a:off x="2057400" y="6039294"/>
            <a:ext cx="3078126" cy="718582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GB" sz="800" dirty="0">
                <a:solidFill>
                  <a:schemeClr val="tx1"/>
                </a:solidFill>
              </a:rPr>
              <a:t>SIA= supplementary immunisation </a:t>
            </a:r>
            <a:r>
              <a:rPr lang="en-GB" sz="800" dirty="0" smtClean="0">
                <a:solidFill>
                  <a:schemeClr val="tx1"/>
                </a:solidFill>
              </a:rPr>
              <a:t>activities</a:t>
            </a:r>
            <a:br>
              <a:rPr lang="en-GB" sz="800" dirty="0" smtClean="0">
                <a:solidFill>
                  <a:schemeClr val="tx1"/>
                </a:solidFill>
              </a:rPr>
            </a:br>
            <a:endParaRPr lang="en-GB" sz="800" dirty="0">
              <a:solidFill>
                <a:schemeClr val="tx1"/>
              </a:solidFill>
              <a:cs typeface="Arial" pitchFamily="34" charset="0"/>
            </a:endParaRPr>
          </a:p>
          <a:p>
            <a:r>
              <a:rPr lang="en-GB" sz="800" dirty="0" smtClean="0">
                <a:solidFill>
                  <a:schemeClr val="tx1"/>
                </a:solidFill>
                <a:cs typeface="Arial" pitchFamily="34" charset="0"/>
              </a:rPr>
              <a:t>Note: The Gambia introduced pentavalent vaccine in 1997 but is currently receiving GAVI support for its programme.</a:t>
            </a:r>
            <a:br>
              <a:rPr lang="en-GB" sz="800" dirty="0" smtClean="0">
                <a:solidFill>
                  <a:schemeClr val="tx1"/>
                </a:solidFill>
                <a:cs typeface="Arial" pitchFamily="34" charset="0"/>
              </a:rPr>
            </a:br>
            <a:endParaRPr lang="en-GB" sz="800" dirty="0" smtClean="0">
              <a:solidFill>
                <a:schemeClr val="tx1"/>
              </a:solidFill>
              <a:cs typeface="Arial" pitchFamily="34" charset="0"/>
            </a:endParaRPr>
          </a:p>
          <a:p>
            <a:r>
              <a:rPr lang="en-GB" sz="800" dirty="0" smtClean="0">
                <a:solidFill>
                  <a:schemeClr val="tx1"/>
                </a:solidFill>
                <a:cs typeface="Arial" pitchFamily="34" charset="0"/>
              </a:rPr>
              <a:t>Source: GAVI Alliance data as of 30 April 2014</a:t>
            </a:r>
            <a:endParaRPr lang="en-GB" sz="8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15799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599" y="274638"/>
            <a:ext cx="7409121" cy="944562"/>
          </a:xfrm>
        </p:spPr>
        <p:txBody>
          <a:bodyPr/>
          <a:lstStyle/>
          <a:p>
            <a:r>
              <a:rPr lang="en-GB" dirty="0" smtClean="0"/>
              <a:t>Over US$ 5 billion committed to GAVI-supported programmes in Africa</a:t>
            </a:r>
            <a:endParaRPr lang="en-GB" dirty="0"/>
          </a:p>
        </p:txBody>
      </p:sp>
      <p:grpSp>
        <p:nvGrpSpPr>
          <p:cNvPr id="9" name="Group 8"/>
          <p:cNvGrpSpPr/>
          <p:nvPr/>
        </p:nvGrpSpPr>
        <p:grpSpPr>
          <a:xfrm>
            <a:off x="845800" y="2598292"/>
            <a:ext cx="3931928" cy="3156632"/>
            <a:chOff x="845800" y="2045376"/>
            <a:chExt cx="3931928" cy="3156632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509"/>
            <a:stretch/>
          </p:blipFill>
          <p:spPr>
            <a:xfrm>
              <a:off x="845800" y="2562457"/>
              <a:ext cx="3931928" cy="2639551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845801" y="2045376"/>
              <a:ext cx="25459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/>
                <a:t>Commitments</a:t>
              </a:r>
              <a:endParaRPr lang="en-GB" b="1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971251" y="2598292"/>
            <a:ext cx="3931928" cy="3156633"/>
            <a:chOff x="5003150" y="2045376"/>
            <a:chExt cx="3931928" cy="3156633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509"/>
            <a:stretch/>
          </p:blipFill>
          <p:spPr>
            <a:xfrm>
              <a:off x="5003150" y="2562457"/>
              <a:ext cx="3931928" cy="2639552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5027936" y="2045376"/>
              <a:ext cx="25459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 smtClean="0"/>
                <a:t>Disbursements</a:t>
              </a:r>
              <a:endParaRPr lang="en-GB" b="1" dirty="0"/>
            </a:p>
          </p:txBody>
        </p:sp>
      </p:grpSp>
      <p:sp>
        <p:nvSpPr>
          <p:cNvPr id="7" name="Rectangle 6"/>
          <p:cNvSpPr/>
          <p:nvPr/>
        </p:nvSpPr>
        <p:spPr>
          <a:xfrm>
            <a:off x="990000" y="6206066"/>
            <a:ext cx="4390074" cy="357188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GB" sz="800" dirty="0" smtClean="0">
                <a:solidFill>
                  <a:schemeClr val="tx1"/>
                </a:solidFill>
                <a:cs typeface="Arial" pitchFamily="34" charset="0"/>
              </a:rPr>
              <a:t>Source: GAVI Alliance data as of 31 December 2013</a:t>
            </a:r>
          </a:p>
        </p:txBody>
      </p:sp>
      <p:sp>
        <p:nvSpPr>
          <p:cNvPr id="10" name="TextBox 6"/>
          <p:cNvSpPr txBox="1"/>
          <p:nvPr/>
        </p:nvSpPr>
        <p:spPr>
          <a:xfrm>
            <a:off x="1014960" y="1761461"/>
            <a:ext cx="7693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rgbClr val="333333"/>
                </a:solidFill>
              </a:rPr>
              <a:t>GAVI global commitments and disbursements, 2001–2013 </a:t>
            </a:r>
            <a:endParaRPr lang="en-GB" sz="20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0720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860" y="2051472"/>
            <a:ext cx="8353062" cy="35935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TP3 coverage in the WHO Africa region  increased from 5% to 72%, 1980–2012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990000" y="6206066"/>
            <a:ext cx="2770188" cy="357188"/>
          </a:xfrm>
          <a:prstGeom prst="rect">
            <a:avLst/>
          </a:prstGeom>
          <a:noFill/>
          <a:ln>
            <a:noFill/>
          </a:ln>
          <a:effectLst>
            <a:outerShdw blurRad="40000" dist="23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en-GB" sz="800" dirty="0">
                <a:solidFill>
                  <a:schemeClr val="tx1"/>
                </a:solidFill>
                <a:cs typeface="Arial" pitchFamily="34" charset="0"/>
              </a:rPr>
              <a:t>Note: WHO Africa region only</a:t>
            </a:r>
          </a:p>
          <a:p>
            <a:r>
              <a:rPr lang="en-GB" sz="800" dirty="0" smtClean="0">
                <a:solidFill>
                  <a:schemeClr val="tx1"/>
                </a:solidFill>
                <a:cs typeface="Arial" pitchFamily="34" charset="0"/>
              </a:rPr>
              <a:t>Source: WHO-UNICEF estimates of national immunisation coverage, 201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01340" y="5893263"/>
            <a:ext cx="7974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 smtClean="0">
                <a:solidFill>
                  <a:schemeClr val="tx1">
                    <a:lumMod val="50000"/>
                  </a:schemeClr>
                </a:solidFill>
              </a:rPr>
              <a:t>Launch of GAVI</a:t>
            </a:r>
            <a:endParaRPr lang="en-GB" sz="1200" dirty="0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7" name="Straight Arrow Connector 6"/>
          <p:cNvCxnSpPr>
            <a:stCxn id="4" idx="0"/>
          </p:cNvCxnSpPr>
          <p:nvPr/>
        </p:nvCxnSpPr>
        <p:spPr>
          <a:xfrm flipV="1">
            <a:off x="5800061" y="5513576"/>
            <a:ext cx="0" cy="37968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80671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penta_map_blurred_6pixels_SthSudanGreen.png"/>
          <p:cNvPicPr>
            <a:picLocks noChangeAspect="1"/>
          </p:cNvPicPr>
          <p:nvPr/>
        </p:nvPicPr>
        <p:blipFill>
          <a:blip r:embed="rId3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10000"/>
            <a:ext cx="9144000" cy="4321175"/>
          </a:xfrm>
          <a:prstGeom prst="rect">
            <a:avLst/>
          </a:prstGeom>
        </p:spPr>
      </p:pic>
      <p:pic>
        <p:nvPicPr>
          <p:cNvPr id="11" name="Image 10" descr="transparent_00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3400" y="1710000"/>
            <a:ext cx="8382000" cy="3928800"/>
          </a:xfrm>
          <a:prstGeom prst="rect">
            <a:avLst/>
          </a:prstGeom>
        </p:spPr>
      </p:pic>
      <p:pic>
        <p:nvPicPr>
          <p:cNvPr id="10" name="Image 9" descr="RS1701_GAVI_2013_Evelyn Hockstein _KENYA  (58) 2_LOWRES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382400" y="2307600"/>
            <a:ext cx="7391400" cy="267979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1710000"/>
            <a:ext cx="685800" cy="3474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1137" name="Title 1"/>
          <p:cNvSpPr>
            <a:spLocks noGrp="1"/>
          </p:cNvSpPr>
          <p:nvPr>
            <p:ph type="title"/>
          </p:nvPr>
        </p:nvSpPr>
        <p:spPr>
          <a:xfrm>
            <a:off x="990600" y="274639"/>
            <a:ext cx="7561263" cy="639762"/>
          </a:xfrm>
        </p:spPr>
        <p:txBody>
          <a:bodyPr/>
          <a:lstStyle/>
          <a:p>
            <a:r>
              <a:rPr lang="en-GB" dirty="0" smtClean="0">
                <a:latin typeface="Arial" charset="0"/>
              </a:rPr>
              <a:t>Impact on the ground</a:t>
            </a:r>
          </a:p>
        </p:txBody>
      </p:sp>
      <p:sp>
        <p:nvSpPr>
          <p:cNvPr id="91138" name="TextBox 6"/>
          <p:cNvSpPr txBox="1">
            <a:spLocks noChangeArrowheads="1"/>
          </p:cNvSpPr>
          <p:nvPr/>
        </p:nvSpPr>
        <p:spPr bwMode="auto">
          <a:xfrm>
            <a:off x="990000" y="1080000"/>
            <a:ext cx="63833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2000" dirty="0">
                <a:solidFill>
                  <a:srgbClr val="333333"/>
                </a:solidFill>
              </a:rPr>
              <a:t>Eliminating Hib meningitis in Kenya (</a:t>
            </a:r>
            <a:r>
              <a:rPr lang="en-GB" sz="2000" dirty="0" err="1">
                <a:solidFill>
                  <a:srgbClr val="333333"/>
                </a:solidFill>
              </a:rPr>
              <a:t>Kilifi</a:t>
            </a:r>
            <a:r>
              <a:rPr lang="en-GB" sz="2000" dirty="0">
                <a:solidFill>
                  <a:srgbClr val="333333"/>
                </a:solidFill>
              </a:rPr>
              <a:t> district)</a:t>
            </a:r>
          </a:p>
        </p:txBody>
      </p:sp>
      <p:sp>
        <p:nvSpPr>
          <p:cNvPr id="91139" name="Footer Placeholder 4"/>
          <p:cNvSpPr txBox="1">
            <a:spLocks/>
          </p:cNvSpPr>
          <p:nvPr/>
        </p:nvSpPr>
        <p:spPr bwMode="auto">
          <a:xfrm>
            <a:off x="990600" y="5911850"/>
            <a:ext cx="39624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800" dirty="0">
                <a:solidFill>
                  <a:srgbClr val="333333"/>
                </a:solidFill>
              </a:rPr>
              <a:t>Source: </a:t>
            </a:r>
            <a:r>
              <a:rPr lang="en-GB" sz="800" dirty="0">
                <a:solidFill>
                  <a:srgbClr val="333333"/>
                </a:solidFill>
              </a:rPr>
              <a:t>Anthony Scott, </a:t>
            </a:r>
            <a:r>
              <a:rPr lang="en-GB" sz="800" dirty="0" err="1">
                <a:solidFill>
                  <a:srgbClr val="333333"/>
                </a:solidFill>
              </a:rPr>
              <a:t>Wellcome</a:t>
            </a:r>
            <a:r>
              <a:rPr lang="en-GB" sz="800" dirty="0">
                <a:solidFill>
                  <a:srgbClr val="333333"/>
                </a:solidFill>
              </a:rPr>
              <a:t> Trust Senior Research Fellow in Clinical Science KEMRI-</a:t>
            </a:r>
            <a:r>
              <a:rPr lang="en-GB" sz="800" dirty="0" err="1">
                <a:solidFill>
                  <a:srgbClr val="333333"/>
                </a:solidFill>
              </a:rPr>
              <a:t>Wellcome</a:t>
            </a:r>
            <a:r>
              <a:rPr lang="en-GB" sz="800" dirty="0">
                <a:solidFill>
                  <a:srgbClr val="333333"/>
                </a:solidFill>
              </a:rPr>
              <a:t> Trust Research Programme , </a:t>
            </a:r>
            <a:r>
              <a:rPr lang="en-GB" sz="800" dirty="0" err="1">
                <a:solidFill>
                  <a:srgbClr val="333333"/>
                </a:solidFill>
              </a:rPr>
              <a:t>Kilifi</a:t>
            </a:r>
            <a:r>
              <a:rPr lang="en-GB" sz="800" dirty="0">
                <a:solidFill>
                  <a:srgbClr val="333333"/>
                </a:solidFill>
              </a:rPr>
              <a:t>, Kenya, January 2014</a:t>
            </a:r>
          </a:p>
        </p:txBody>
      </p:sp>
      <p:pic>
        <p:nvPicPr>
          <p:cNvPr id="15" name="Image 14" descr="transparent_01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00200" y="1710000"/>
            <a:ext cx="1752600" cy="652200"/>
          </a:xfrm>
          <a:prstGeom prst="rect">
            <a:avLst/>
          </a:prstGeom>
        </p:spPr>
      </p:pic>
      <p:pic>
        <p:nvPicPr>
          <p:cNvPr id="12" name="Image 11" descr="transparent_SHAPE_01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95400" y="2819400"/>
            <a:ext cx="74676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316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5"/>
          <p:cNvSpPr txBox="1">
            <a:spLocks/>
          </p:cNvSpPr>
          <p:nvPr/>
        </p:nvSpPr>
        <p:spPr bwMode="auto">
          <a:xfrm>
            <a:off x="990600" y="274638"/>
            <a:ext cx="7848600" cy="94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2"/>
                </a:solidFill>
                <a:latin typeface="Arial"/>
                <a:ea typeface="MS PGothic" pitchFamily="34" charset="-128"/>
                <a:cs typeface="ＭＳ Ｐゴシック" pitchFamily="18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MS PGothic" pitchFamily="34" charset="-128"/>
                <a:cs typeface="ＭＳ Ｐゴシック" pitchFamily="18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MS PGothic" pitchFamily="34" charset="-128"/>
                <a:cs typeface="ＭＳ Ｐゴシック" pitchFamily="18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MS PGothic" pitchFamily="34" charset="-128"/>
                <a:cs typeface="ＭＳ Ｐゴシック" pitchFamily="18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MS PGothic" pitchFamily="34" charset="-128"/>
                <a:cs typeface="ＭＳ Ｐゴシック" pitchFamily="18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pitchFamily="18" charset="0"/>
                <a:ea typeface="ＭＳ Ｐゴシック" pitchFamily="18" charset="-128"/>
                <a:cs typeface="ＭＳ Ｐゴシック" pitchFamily="18" charset="-128"/>
              </a:defRPr>
            </a:lvl9pPr>
          </a:lstStyle>
          <a:p>
            <a:r>
              <a:rPr lang="en-GB" dirty="0" smtClean="0">
                <a:solidFill>
                  <a:srgbClr val="B3071B"/>
                </a:solidFill>
              </a:rPr>
              <a:t>Impact on the ground</a:t>
            </a:r>
            <a:endParaRPr lang="en-GB" i="1" dirty="0">
              <a:solidFill>
                <a:srgbClr val="B3071B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968517" y="1080000"/>
            <a:ext cx="735806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-108" charset="2"/>
              <a:buNone/>
            </a:pPr>
            <a:r>
              <a:rPr lang="en-GB" dirty="0" smtClean="0"/>
              <a:t>Admissions of children under five for invasive pneumococcal disease from vaccine serotypes, </a:t>
            </a:r>
            <a:r>
              <a:rPr lang="en-GB" dirty="0" err="1" smtClean="0"/>
              <a:t>Kilifi</a:t>
            </a:r>
            <a:r>
              <a:rPr lang="en-GB" dirty="0" smtClean="0"/>
              <a:t> District Hospital, 2003–2013 </a:t>
            </a:r>
            <a:endParaRPr lang="en-GB" dirty="0"/>
          </a:p>
        </p:txBody>
      </p: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990000" y="5911200"/>
            <a:ext cx="56978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r>
              <a:rPr lang="en-GB" sz="800" dirty="0" smtClean="0"/>
              <a:t>Source:  Anthony Scott, KEMRI-</a:t>
            </a:r>
            <a:r>
              <a:rPr lang="en-GB" sz="800" dirty="0" err="1" smtClean="0"/>
              <a:t>Wellcome</a:t>
            </a:r>
            <a:r>
              <a:rPr lang="en-GB" sz="800" dirty="0" smtClean="0"/>
              <a:t> Trust </a:t>
            </a:r>
            <a:r>
              <a:rPr lang="en-GB" sz="800" dirty="0"/>
              <a:t>Research </a:t>
            </a:r>
            <a:r>
              <a:rPr lang="en-GB" sz="800" dirty="0" smtClean="0"/>
              <a:t>Programme, </a:t>
            </a:r>
            <a:r>
              <a:rPr lang="en-GB" sz="800" dirty="0" err="1" smtClean="0"/>
              <a:t>Kilifi</a:t>
            </a:r>
            <a:r>
              <a:rPr lang="en-GB" sz="800" dirty="0" smtClean="0"/>
              <a:t>, Kenya, January 2014</a:t>
            </a:r>
            <a:endParaRPr lang="en-GB" sz="800" dirty="0"/>
          </a:p>
        </p:txBody>
      </p:sp>
      <p:grpSp>
        <p:nvGrpSpPr>
          <p:cNvPr id="4" name="Group 3"/>
          <p:cNvGrpSpPr/>
          <p:nvPr/>
        </p:nvGrpSpPr>
        <p:grpSpPr>
          <a:xfrm>
            <a:off x="360126" y="2281095"/>
            <a:ext cx="8707267" cy="3387454"/>
            <a:chOff x="360126" y="2281095"/>
            <a:chExt cx="8707267" cy="3387454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0126" y="2281095"/>
              <a:ext cx="8707267" cy="3056450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4497571" y="5422328"/>
              <a:ext cx="10100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000" b="1" dirty="0" smtClean="0"/>
                <a:t>Year</a:t>
              </a:r>
              <a:endParaRPr lang="en-GB" sz="10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619905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00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1797580"/>
            <a:ext cx="6864035" cy="399362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90600" y="274638"/>
            <a:ext cx="7560733" cy="1196445"/>
          </a:xfrm>
        </p:spPr>
        <p:txBody>
          <a:bodyPr/>
          <a:lstStyle/>
          <a:p>
            <a:r>
              <a:rPr lang="en-GB" dirty="0" smtClean="0"/>
              <a:t>Impact on the ground</a:t>
            </a:r>
            <a:endParaRPr lang="en-GB" dirty="0"/>
          </a:p>
        </p:txBody>
      </p:sp>
      <p:sp>
        <p:nvSpPr>
          <p:cNvPr id="15" name="TextBox 6"/>
          <p:cNvSpPr txBox="1"/>
          <p:nvPr/>
        </p:nvSpPr>
        <p:spPr>
          <a:xfrm>
            <a:off x="1014960" y="1080000"/>
            <a:ext cx="63824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rgbClr val="333333"/>
                </a:solidFill>
              </a:rPr>
              <a:t>Reducing Hib meningitis in Bamako, Mali</a:t>
            </a:r>
            <a:endParaRPr lang="en-GB" sz="2000" dirty="0">
              <a:solidFill>
                <a:srgbClr val="333333"/>
              </a:solidFill>
            </a:endParaRPr>
          </a:p>
        </p:txBody>
      </p:sp>
      <p:pic>
        <p:nvPicPr>
          <p:cNvPr id="7" name="Image 6" descr="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76400" y="1797580"/>
            <a:ext cx="6254435" cy="3993620"/>
          </a:xfrm>
          <a:prstGeom prst="rect">
            <a:avLst/>
          </a:prstGeom>
        </p:spPr>
      </p:pic>
      <p:grpSp>
        <p:nvGrpSpPr>
          <p:cNvPr id="13" name="Grouper 12"/>
          <p:cNvGrpSpPr/>
          <p:nvPr/>
        </p:nvGrpSpPr>
        <p:grpSpPr>
          <a:xfrm>
            <a:off x="6372200" y="856874"/>
            <a:ext cx="1752600" cy="1228417"/>
            <a:chOff x="6848160" y="323910"/>
            <a:chExt cx="1848166" cy="1295400"/>
          </a:xfrm>
        </p:grpSpPr>
        <p:pic>
          <p:nvPicPr>
            <p:cNvPr id="11" name="Picture 4" descr="Cvdlogo12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8160" y="457200"/>
              <a:ext cx="549275" cy="1143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5" descr="Malilogo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7126" y="323910"/>
              <a:ext cx="1219200" cy="129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TextBox 5"/>
          <p:cNvSpPr txBox="1">
            <a:spLocks noChangeArrowheads="1"/>
          </p:cNvSpPr>
          <p:nvPr/>
        </p:nvSpPr>
        <p:spPr bwMode="auto">
          <a:xfrm>
            <a:off x="990000" y="5911200"/>
            <a:ext cx="56978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r>
              <a:rPr lang="fr-FR" sz="800" dirty="0" smtClean="0"/>
              <a:t>Source:  </a:t>
            </a:r>
            <a:r>
              <a:rPr lang="en-GB" sz="800" dirty="0" smtClean="0"/>
              <a:t>Courtesy:</a:t>
            </a:r>
            <a:r>
              <a:rPr lang="fr-FR" sz="800" dirty="0" smtClean="0"/>
              <a:t> Centre pour le Développement des Vaccins – Mali, 2013</a:t>
            </a:r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20632352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 descr="belt_01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377844"/>
            <a:ext cx="7556505" cy="54801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274638"/>
            <a:ext cx="7391400" cy="1196445"/>
          </a:xfrm>
        </p:spPr>
        <p:txBody>
          <a:bodyPr/>
          <a:lstStyle/>
          <a:p>
            <a:r>
              <a:rPr lang="en-GB" dirty="0" smtClean="0"/>
              <a:t>Impact in the meningitis belt</a:t>
            </a:r>
            <a:endParaRPr lang="en-GB" dirty="0"/>
          </a:p>
        </p:txBody>
      </p:sp>
      <p:pic>
        <p:nvPicPr>
          <p:cNvPr id="19" name="Image 18" descr="belt_02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378800"/>
            <a:ext cx="7556683" cy="5480971"/>
          </a:xfrm>
          <a:prstGeom prst="rect">
            <a:avLst/>
          </a:prstGeom>
        </p:spPr>
      </p:pic>
      <p:pic>
        <p:nvPicPr>
          <p:cNvPr id="32" name="Image 31" descr="belt_03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378800"/>
            <a:ext cx="7558572" cy="5479200"/>
          </a:xfrm>
          <a:prstGeom prst="rect">
            <a:avLst/>
          </a:prstGeom>
        </p:spPr>
      </p:pic>
      <p:grpSp>
        <p:nvGrpSpPr>
          <p:cNvPr id="3" name="Grouper 27"/>
          <p:cNvGrpSpPr/>
          <p:nvPr/>
        </p:nvGrpSpPr>
        <p:grpSpPr>
          <a:xfrm>
            <a:off x="5683250" y="3333752"/>
            <a:ext cx="3185583" cy="2508250"/>
            <a:chOff x="5196417" y="3661834"/>
            <a:chExt cx="3587750" cy="2069062"/>
          </a:xfrm>
        </p:grpSpPr>
        <p:sp>
          <p:nvSpPr>
            <p:cNvPr id="22" name="Rectangle 21"/>
            <p:cNvSpPr/>
            <p:nvPr/>
          </p:nvSpPr>
          <p:spPr>
            <a:xfrm>
              <a:off x="5196417" y="3661834"/>
              <a:ext cx="3587750" cy="2069062"/>
            </a:xfrm>
            <a:prstGeom prst="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bg1"/>
                </a:gs>
              </a:gsLst>
            </a:gradFill>
            <a:ln>
              <a:noFill/>
            </a:ln>
            <a:effectLst>
              <a:outerShdw blurRad="127000" dir="5400000" rotWithShape="0">
                <a:srgbClr val="000000">
                  <a:alpha val="60000"/>
                </a:srgbClr>
              </a:outerShdw>
            </a:effec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5361516" y="3702313"/>
              <a:ext cx="1920802" cy="403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600" b="1" dirty="0" smtClean="0"/>
                <a:t>Impact:</a:t>
              </a:r>
            </a:p>
          </p:txBody>
        </p:sp>
        <p:sp>
          <p:nvSpPr>
            <p:cNvPr id="24" name="ZoneTexte 23"/>
            <p:cNvSpPr txBox="1"/>
            <p:nvPr/>
          </p:nvSpPr>
          <p:spPr>
            <a:xfrm>
              <a:off x="5361517" y="4173741"/>
              <a:ext cx="3295650" cy="304663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en-GB" i="1" dirty="0" smtClean="0"/>
                <a:t>Number of men A cases:</a:t>
              </a:r>
            </a:p>
          </p:txBody>
        </p:sp>
        <p:grpSp>
          <p:nvGrpSpPr>
            <p:cNvPr id="4" name="Grouper 26"/>
            <p:cNvGrpSpPr/>
            <p:nvPr/>
          </p:nvGrpSpPr>
          <p:grpSpPr>
            <a:xfrm>
              <a:off x="5361517" y="4572007"/>
              <a:ext cx="3179233" cy="1040932"/>
              <a:chOff x="5361517" y="4709586"/>
              <a:chExt cx="3179233" cy="1040932"/>
            </a:xfrm>
          </p:grpSpPr>
          <p:sp>
            <p:nvSpPr>
              <p:cNvPr id="27" name="ZoneTexte 26"/>
              <p:cNvSpPr txBox="1"/>
              <p:nvPr/>
            </p:nvSpPr>
            <p:spPr>
              <a:xfrm>
                <a:off x="5361517" y="4976557"/>
                <a:ext cx="1896963" cy="7616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dirty="0" smtClean="0"/>
                  <a:t>Niger</a:t>
                </a:r>
              </a:p>
              <a:p>
                <a:r>
                  <a:rPr lang="fr-FR" dirty="0" smtClean="0"/>
                  <a:t>Burkina Faso</a:t>
                </a:r>
                <a:br>
                  <a:rPr lang="fr-FR" dirty="0" smtClean="0"/>
                </a:br>
                <a:r>
                  <a:rPr lang="fr-FR" dirty="0" smtClean="0"/>
                  <a:t>Mali</a:t>
                </a:r>
              </a:p>
            </p:txBody>
          </p:sp>
          <p:sp>
            <p:nvSpPr>
              <p:cNvPr id="28" name="ZoneTexte 27"/>
              <p:cNvSpPr txBox="1"/>
              <p:nvPr/>
            </p:nvSpPr>
            <p:spPr>
              <a:xfrm>
                <a:off x="6889873" y="4709586"/>
                <a:ext cx="867710" cy="10409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b="1" dirty="0" smtClean="0"/>
                  <a:t>2008</a:t>
                </a:r>
              </a:p>
              <a:p>
                <a:pPr algn="r"/>
                <a:r>
                  <a:rPr lang="fr-FR" sz="400" dirty="0" smtClean="0"/>
                  <a:t/>
                </a:r>
                <a:br>
                  <a:rPr lang="fr-FR" sz="400" dirty="0" smtClean="0"/>
                </a:br>
                <a:r>
                  <a:rPr lang="fr-FR" dirty="0" smtClean="0"/>
                  <a:t>842</a:t>
                </a:r>
              </a:p>
              <a:p>
                <a:pPr algn="r"/>
                <a:r>
                  <a:rPr lang="fr-FR" dirty="0" smtClean="0"/>
                  <a:t>156</a:t>
                </a:r>
              </a:p>
              <a:p>
                <a:pPr algn="r"/>
                <a:r>
                  <a:rPr lang="fr-FR" dirty="0" smtClean="0"/>
                  <a:t>16</a:t>
                </a:r>
              </a:p>
            </p:txBody>
          </p:sp>
          <p:sp>
            <p:nvSpPr>
              <p:cNvPr id="29" name="ZoneTexte 28"/>
              <p:cNvSpPr txBox="1"/>
              <p:nvPr/>
            </p:nvSpPr>
            <p:spPr>
              <a:xfrm>
                <a:off x="7608792" y="4709586"/>
                <a:ext cx="900209" cy="10409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fr-FR" b="1" dirty="0" smtClean="0"/>
                  <a:t>2012</a:t>
                </a:r>
              </a:p>
              <a:p>
                <a:pPr algn="r"/>
                <a:r>
                  <a:rPr lang="fr-FR" sz="400" dirty="0" smtClean="0"/>
                  <a:t/>
                </a:r>
                <a:br>
                  <a:rPr lang="fr-FR" sz="400" dirty="0" smtClean="0"/>
                </a:br>
                <a:r>
                  <a:rPr lang="fr-FR" dirty="0" smtClean="0"/>
                  <a:t>0</a:t>
                </a:r>
              </a:p>
              <a:p>
                <a:pPr algn="r"/>
                <a:r>
                  <a:rPr lang="fr-FR" dirty="0" smtClean="0"/>
                  <a:t>0</a:t>
                </a:r>
              </a:p>
              <a:p>
                <a:pPr algn="r"/>
                <a:r>
                  <a:rPr lang="fr-FR" dirty="0" smtClean="0"/>
                  <a:t>0</a:t>
                </a:r>
              </a:p>
            </p:txBody>
          </p:sp>
          <p:cxnSp>
            <p:nvCxnSpPr>
              <p:cNvPr id="30" name="Connecteur droit 29"/>
              <p:cNvCxnSpPr/>
              <p:nvPr/>
            </p:nvCxnSpPr>
            <p:spPr>
              <a:xfrm>
                <a:off x="5429251" y="5006861"/>
                <a:ext cx="3111499" cy="1588"/>
              </a:xfrm>
              <a:prstGeom prst="line">
                <a:avLst/>
              </a:prstGeom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8" name="Picture 14" descr="gavi_logo_RGB_large.jp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Image 19" descr="150_m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4084" y="1734715"/>
            <a:ext cx="3704237" cy="1397951"/>
          </a:xfrm>
          <a:prstGeom prst="rect">
            <a:avLst/>
          </a:prstGeom>
        </p:spPr>
      </p:pic>
      <p:sp>
        <p:nvSpPr>
          <p:cNvPr id="21" name="Rectangle 2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89999" y="5694403"/>
            <a:ext cx="1785099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/>
          <a:p>
            <a:r>
              <a:rPr lang="en-GB" sz="800" dirty="0" smtClean="0"/>
              <a:t>Sources: People immunised: Preliminary WHO data as of January 2014. Impact: </a:t>
            </a:r>
            <a:r>
              <a:rPr lang="en-GB" sz="800" dirty="0"/>
              <a:t>Meningitis A Conjugate Vaccine Immunization Campaign. Joint WHO/UNICEF Progress Report: January to December 2012. </a:t>
            </a:r>
          </a:p>
        </p:txBody>
      </p:sp>
    </p:spTree>
    <p:extLst>
      <p:ext uri="{BB962C8B-B14F-4D97-AF65-F5344CB8AC3E}">
        <p14:creationId xmlns:p14="http://schemas.microsoft.com/office/powerpoint/2010/main" val="8725887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 descr="Map_Africa_pneumo_2014_05_06_b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7600" y="993600"/>
            <a:ext cx="5249264" cy="555840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1803400"/>
            <a:ext cx="1371600" cy="76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14" descr="gavi_logo_RGB_large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6172200"/>
            <a:ext cx="1233932" cy="532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Arial" charset="0"/>
                <a:ea typeface="ＭＳ Ｐゴシック" pitchFamily="34" charset="-128"/>
              </a:rPr>
              <a:t>28 countries in Africa have introduced pneumococcal vaccine with GAVI support since 2009</a:t>
            </a:r>
            <a:endParaRPr lang="en-GB" dirty="0" smtClean="0"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5" name="Image 14" descr="pneumococcal_key_e.png"/>
          <p:cNvPicPr>
            <a:picLocks noChangeAspect="1"/>
          </p:cNvPicPr>
          <p:nvPr/>
        </p:nvPicPr>
        <p:blipFill>
          <a:blip r:embed="rId6"/>
          <a:srcRect b="49019"/>
          <a:stretch>
            <a:fillRect/>
          </a:stretch>
        </p:blipFill>
        <p:spPr>
          <a:xfrm>
            <a:off x="1080000" y="5236456"/>
            <a:ext cx="4787835" cy="554744"/>
          </a:xfrm>
          <a:prstGeom prst="rect">
            <a:avLst/>
          </a:prstGeom>
        </p:spPr>
      </p:pic>
      <p:sp>
        <p:nvSpPr>
          <p:cNvPr id="12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82136" y="6309956"/>
            <a:ext cx="206586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/>
          <a:p>
            <a:r>
              <a:rPr lang="en-GB" sz="800" dirty="0"/>
              <a:t>Source:</a:t>
            </a:r>
            <a:r>
              <a:rPr lang="en-GB" sz="800" dirty="0" smtClean="0"/>
              <a:t> GAVI Alliance data </a:t>
            </a:r>
            <a:br>
              <a:rPr lang="en-GB" sz="800" dirty="0" smtClean="0"/>
            </a:br>
            <a:r>
              <a:rPr lang="en-GB" sz="800" dirty="0" smtClean="0"/>
              <a:t>as of 30 April 2014</a:t>
            </a:r>
          </a:p>
        </p:txBody>
      </p:sp>
    </p:spTree>
    <p:extLst>
      <p:ext uri="{BB962C8B-B14F-4D97-AF65-F5344CB8AC3E}">
        <p14:creationId xmlns:p14="http://schemas.microsoft.com/office/powerpoint/2010/main" val="12430044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d1CbjI9EuSD3Gvznkf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d1CbjI9EuSD3Gvznkf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d1CbjI9EuSD3Gvznkf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d1CbjI9EuSD3Gvznkf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d1CbjI9EuSD3Gvznkf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d1CbjI9EuSD3GvznkfeQ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333333"/>
      </a:dk1>
      <a:lt1>
        <a:sysClr val="window" lastClr="FFFFFF"/>
      </a:lt1>
      <a:dk2>
        <a:srgbClr val="D81826"/>
      </a:dk2>
      <a:lt2>
        <a:srgbClr val="CCCCCC"/>
      </a:lt2>
      <a:accent1>
        <a:srgbClr val="650460"/>
      </a:accent1>
      <a:accent2>
        <a:srgbClr val="7DD1E1"/>
      </a:accent2>
      <a:accent3>
        <a:srgbClr val="677BAB"/>
      </a:accent3>
      <a:accent4>
        <a:srgbClr val="F7B3BA"/>
      </a:accent4>
      <a:accent5>
        <a:srgbClr val="DB4E56"/>
      </a:accent5>
      <a:accent6>
        <a:srgbClr val="FFD64F"/>
      </a:accent6>
      <a:hlink>
        <a:srgbClr val="666666"/>
      </a:hlink>
      <a:folHlink>
        <a:srgbClr val="61A6A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02B05666E268448DF17F2AC195074D" ma:contentTypeVersion="0" ma:contentTypeDescription="Create a new document." ma:contentTypeScope="" ma:versionID="8c9a01321999fc868d1dc3d25d9cf0e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E8DEAB60-26EE-4019-BFC1-0AD044F833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FE56089-A36B-4B56-AFC1-1A51F5EAC2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FC6A5ED-D11B-442C-B58E-BFB371441F80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699</TotalTime>
  <Words>817</Words>
  <Application>Microsoft Office PowerPoint</Application>
  <PresentationFormat>On-screen Show (4:3)</PresentationFormat>
  <Paragraphs>255</Paragraphs>
  <Slides>16</Slides>
  <Notes>1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7" baseType="lpstr">
      <vt:lpstr>Office Theme</vt:lpstr>
      <vt:lpstr>Immunisation in Africa  Transforming health outcomes across the continent</vt:lpstr>
      <vt:lpstr>More than 140 GAVI-supported introductions and campaigns in Africa since 2001</vt:lpstr>
      <vt:lpstr>Over US$ 5 billion committed to GAVI-supported programmes in Africa</vt:lpstr>
      <vt:lpstr>DTP3 coverage in the WHO Africa region  increased from 5% to 72%, 1980–2012</vt:lpstr>
      <vt:lpstr>Impact on the ground</vt:lpstr>
      <vt:lpstr>PowerPoint Presentation</vt:lpstr>
      <vt:lpstr>Impact on the ground</vt:lpstr>
      <vt:lpstr>Impact in the meningitis belt</vt:lpstr>
      <vt:lpstr>28 countries in Africa have introduced pneumococcal vaccine with GAVI support since 2009</vt:lpstr>
      <vt:lpstr>15 countries in Africa have introduced rotavirus vaccine with GAVI support  since 2011</vt:lpstr>
      <vt:lpstr>20 African countries approved for HPV vaccine support – 8 have launched programmes  since 2013</vt:lpstr>
      <vt:lpstr>38 African countries have introduced pentavalent vaccine with GAVI support since 2001</vt:lpstr>
      <vt:lpstr>GAVI-supported measles and measles-rubella programmes in 11 countries in Africa since 2012</vt:lpstr>
      <vt:lpstr>22.6 million children unimmunised with DTP3 ‒ 9 million in GAVI-supported countries in Africa</vt:lpstr>
      <vt:lpstr>African countries increase  their co-financing of new vaccines</vt:lpstr>
      <vt:lpstr>PowerPoint Presentation</vt:lpstr>
    </vt:vector>
  </TitlesOfParts>
  <Company>GAVI FUN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ddy Hill</dc:creator>
  <cp:lastModifiedBy>Gavi Alliance</cp:lastModifiedBy>
  <cp:revision>3650</cp:revision>
  <cp:lastPrinted>2013-03-27T10:03:39Z</cp:lastPrinted>
  <dcterms:created xsi:type="dcterms:W3CDTF">2008-10-01T14:03:07Z</dcterms:created>
  <dcterms:modified xsi:type="dcterms:W3CDTF">2014-05-12T08:3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02B05666E268448DF17F2AC195074D</vt:lpwstr>
  </property>
</Properties>
</file>